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4"/>
  </p:sldMasterIdLst>
  <p:notesMasterIdLst>
    <p:notesMasterId r:id="rId6"/>
  </p:notesMasterIdLst>
  <p:sldIdLst>
    <p:sldId id="264" r:id="rId5"/>
  </p:sldIdLst>
  <p:sldSz cx="10691813" cy="15119350"/>
  <p:notesSz cx="6797675" cy="9926638"/>
  <p:custDataLst>
    <p:tags r:id="rId7"/>
  </p:custDataLst>
  <p:defaultTextStyle>
    <a:defPPr>
      <a:defRPr lang="de-DE"/>
    </a:defPPr>
    <a:lvl1pPr marL="0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1pPr>
    <a:lvl2pPr marL="526740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2pPr>
    <a:lvl3pPr marL="1053480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3pPr>
    <a:lvl4pPr marL="1580220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4pPr>
    <a:lvl5pPr marL="2106960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5pPr>
    <a:lvl6pPr marL="2633701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6pPr>
    <a:lvl7pPr marL="3160441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7pPr>
    <a:lvl8pPr marL="3687181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8pPr>
    <a:lvl9pPr marL="4213921" algn="l" defTabSz="1053480" rtl="0" eaLnBrk="1" latinLnBrk="0" hangingPunct="1">
      <a:defRPr sz="207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87D221-1DA5-4A81-9093-FDA72DCF7A7F}" v="136" dt="2022-11-04T10:32:55.079"/>
    <p1510:client id="{A918636B-4C6C-4F6D-A8EF-78BF6856C9AE}" v="14" vWet="16" dt="2022-11-04T10:16:18.196"/>
    <p1510:client id="{F7017BEB-DE66-4993-8335-F639E1896434}" v="9" dt="2022-11-04T10:28:55.296"/>
    <p1510:client id="{FF8949F3-A6CC-46C5-953B-6BAEB09A1D78}" v="21" vWet="23" dt="2022-11-04T10:32:31.0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290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emann, Kristof" userId="S::uidp3321@contiwan.com::daebd97c-e21d-4ed5-b2cb-2c0654096d53" providerId="AD" clId="Web-{A918636B-4C6C-4F6D-A8EF-78BF6856C9AE}"/>
    <pc:docChg chg="modSld">
      <pc:chgData name="Hannemann, Kristof" userId="S::uidp3321@contiwan.com::daebd97c-e21d-4ed5-b2cb-2c0654096d53" providerId="AD" clId="Web-{A918636B-4C6C-4F6D-A8EF-78BF6856C9AE}" dt="2022-11-04T10:16:15.727" v="8" actId="20577"/>
      <pc:docMkLst>
        <pc:docMk/>
      </pc:docMkLst>
      <pc:sldChg chg="modSp">
        <pc:chgData name="Hannemann, Kristof" userId="S::uidp3321@contiwan.com::daebd97c-e21d-4ed5-b2cb-2c0654096d53" providerId="AD" clId="Web-{A918636B-4C6C-4F6D-A8EF-78BF6856C9AE}" dt="2022-11-04T10:16:15.727" v="8" actId="20577"/>
        <pc:sldMkLst>
          <pc:docMk/>
          <pc:sldMk cId="502937534" sldId="264"/>
        </pc:sldMkLst>
        <pc:spChg chg="mod">
          <ac:chgData name="Hannemann, Kristof" userId="S::uidp3321@contiwan.com::daebd97c-e21d-4ed5-b2cb-2c0654096d53" providerId="AD" clId="Web-{A918636B-4C6C-4F6D-A8EF-78BF6856C9AE}" dt="2022-11-04T10:16:15.727" v="8" actId="20577"/>
          <ac:spMkLst>
            <pc:docMk/>
            <pc:sldMk cId="502937534" sldId="264"/>
            <ac:spMk id="2" creationId="{0D9CC736-084F-437D-B21E-6987C34F22ED}"/>
          </ac:spMkLst>
        </pc:spChg>
      </pc:sldChg>
    </pc:docChg>
  </pc:docChgLst>
  <pc:docChgLst>
    <pc:chgData name="Reimold, Florian" userId="2a9ce7ad-ef86-4eb0-b838-113ed040c6a9" providerId="ADAL" clId="{F7017BEB-DE66-4993-8335-F639E1896434}"/>
    <pc:docChg chg="modSld">
      <pc:chgData name="Reimold, Florian" userId="2a9ce7ad-ef86-4eb0-b838-113ed040c6a9" providerId="ADAL" clId="{F7017BEB-DE66-4993-8335-F639E1896434}" dt="2022-11-04T10:28:55.296" v="4" actId="14100"/>
      <pc:docMkLst>
        <pc:docMk/>
      </pc:docMkLst>
      <pc:sldChg chg="modSp mod">
        <pc:chgData name="Reimold, Florian" userId="2a9ce7ad-ef86-4eb0-b838-113ed040c6a9" providerId="ADAL" clId="{F7017BEB-DE66-4993-8335-F639E1896434}" dt="2022-11-04T10:28:55.296" v="4" actId="14100"/>
        <pc:sldMkLst>
          <pc:docMk/>
          <pc:sldMk cId="502937534" sldId="264"/>
        </pc:sldMkLst>
        <pc:spChg chg="mod">
          <ac:chgData name="Reimold, Florian" userId="2a9ce7ad-ef86-4eb0-b838-113ed040c6a9" providerId="ADAL" clId="{F7017BEB-DE66-4993-8335-F639E1896434}" dt="2022-11-04T10:28:55.296" v="4" actId="14100"/>
          <ac:spMkLst>
            <pc:docMk/>
            <pc:sldMk cId="502937534" sldId="264"/>
            <ac:spMk id="35" creationId="{9F29651A-82E8-4955-A0BF-6A65C77E080D}"/>
          </ac:spMkLst>
        </pc:spChg>
        <pc:spChg chg="mod">
          <ac:chgData name="Reimold, Florian" userId="2a9ce7ad-ef86-4eb0-b838-113ed040c6a9" providerId="ADAL" clId="{F7017BEB-DE66-4993-8335-F639E1896434}" dt="2022-11-04T10:14:59.033" v="3" actId="20577"/>
          <ac:spMkLst>
            <pc:docMk/>
            <pc:sldMk cId="502937534" sldId="264"/>
            <ac:spMk id="39" creationId="{D50C17AA-0CC0-4052-876B-CFBB9AF5CAB5}"/>
          </ac:spMkLst>
        </pc:spChg>
      </pc:sldChg>
    </pc:docChg>
  </pc:docChgLst>
  <pc:docChgLst>
    <pc:chgData name="Keller, Kerstin" userId="07a869ac-2c53-4e52-bede-da560d92d420" providerId="ADAL" clId="{9B87D221-1DA5-4A81-9093-FDA72DCF7A7F}"/>
    <pc:docChg chg="undo custSel addSld delSld modSld">
      <pc:chgData name="Keller, Kerstin" userId="07a869ac-2c53-4e52-bede-da560d92d420" providerId="ADAL" clId="{9B87D221-1DA5-4A81-9093-FDA72DCF7A7F}" dt="2022-11-04T10:32:55.080" v="1631" actId="1036"/>
      <pc:docMkLst>
        <pc:docMk/>
      </pc:docMkLst>
      <pc:sldChg chg="addSp delSp modSp del mod">
        <pc:chgData name="Keller, Kerstin" userId="07a869ac-2c53-4e52-bede-da560d92d420" providerId="ADAL" clId="{9B87D221-1DA5-4A81-9093-FDA72DCF7A7F}" dt="2022-11-04T09:57:27.820" v="1512" actId="47"/>
        <pc:sldMkLst>
          <pc:docMk/>
          <pc:sldMk cId="2398835186" sldId="262"/>
        </pc:sldMkLst>
        <pc:spChg chg="add del mod">
          <ac:chgData name="Keller, Kerstin" userId="07a869ac-2c53-4e52-bede-da560d92d420" providerId="ADAL" clId="{9B87D221-1DA5-4A81-9093-FDA72DCF7A7F}" dt="2022-11-04T08:36:05.723" v="619" actId="478"/>
          <ac:spMkLst>
            <pc:docMk/>
            <pc:sldMk cId="2398835186" sldId="262"/>
            <ac:spMk id="6" creationId="{A0ECF56A-2265-4E2F-A03D-D3833568F91B}"/>
          </ac:spMkLst>
        </pc:spChg>
        <pc:spChg chg="add del mod">
          <ac:chgData name="Keller, Kerstin" userId="07a869ac-2c53-4e52-bede-da560d92d420" providerId="ADAL" clId="{9B87D221-1DA5-4A81-9093-FDA72DCF7A7F}" dt="2022-11-04T08:38:14.187" v="626" actId="478"/>
          <ac:spMkLst>
            <pc:docMk/>
            <pc:sldMk cId="2398835186" sldId="262"/>
            <ac:spMk id="11" creationId="{98026A62-2755-4C8D-AFB2-015FC4B2F03C}"/>
          </ac:spMkLst>
        </pc:spChg>
        <pc:spChg chg="del mod">
          <ac:chgData name="Keller, Kerstin" userId="07a869ac-2c53-4e52-bede-da560d92d420" providerId="ADAL" clId="{9B87D221-1DA5-4A81-9093-FDA72DCF7A7F}" dt="2022-11-04T08:38:09.045" v="625" actId="478"/>
          <ac:spMkLst>
            <pc:docMk/>
            <pc:sldMk cId="2398835186" sldId="262"/>
            <ac:spMk id="38" creationId="{F15AF5C6-FB06-4B22-B053-AF6BDA46D987}"/>
          </ac:spMkLst>
        </pc:spChg>
        <pc:spChg chg="add del mod">
          <ac:chgData name="Keller, Kerstin" userId="07a869ac-2c53-4e52-bede-da560d92d420" providerId="ADAL" clId="{9B87D221-1DA5-4A81-9093-FDA72DCF7A7F}" dt="2022-11-04T08:36:27.105" v="621"/>
          <ac:spMkLst>
            <pc:docMk/>
            <pc:sldMk cId="2398835186" sldId="262"/>
            <ac:spMk id="39" creationId="{D50C17AA-0CC0-4052-876B-CFBB9AF5CAB5}"/>
          </ac:spMkLst>
        </pc:spChg>
        <pc:spChg chg="mod">
          <ac:chgData name="Keller, Kerstin" userId="07a869ac-2c53-4e52-bede-da560d92d420" providerId="ADAL" clId="{9B87D221-1DA5-4A81-9093-FDA72DCF7A7F}" dt="2022-11-03T15:29:54.579" v="316" actId="947"/>
          <ac:spMkLst>
            <pc:docMk/>
            <pc:sldMk cId="2398835186" sldId="262"/>
            <ac:spMk id="41" creationId="{0946C426-848B-4DAA-AF44-9C64047C300B}"/>
          </ac:spMkLst>
        </pc:spChg>
        <pc:spChg chg="mod">
          <ac:chgData name="Keller, Kerstin" userId="07a869ac-2c53-4e52-bede-da560d92d420" providerId="ADAL" clId="{9B87D221-1DA5-4A81-9093-FDA72DCF7A7F}" dt="2022-11-03T15:29:54.580" v="317" actId="947"/>
          <ac:spMkLst>
            <pc:docMk/>
            <pc:sldMk cId="2398835186" sldId="262"/>
            <ac:spMk id="42" creationId="{FDCE5E87-20DF-4132-85C4-7FC3E9DC9EDC}"/>
          </ac:spMkLst>
        </pc:spChg>
        <pc:spChg chg="mod">
          <ac:chgData name="Keller, Kerstin" userId="07a869ac-2c53-4e52-bede-da560d92d420" providerId="ADAL" clId="{9B87D221-1DA5-4A81-9093-FDA72DCF7A7F}" dt="2022-11-03T15:29:54.581" v="318" actId="947"/>
          <ac:spMkLst>
            <pc:docMk/>
            <pc:sldMk cId="2398835186" sldId="262"/>
            <ac:spMk id="43" creationId="{254958BF-12EB-425E-A89B-7A3ACBEEE19F}"/>
          </ac:spMkLst>
        </pc:spChg>
        <pc:spChg chg="mod">
          <ac:chgData name="Keller, Kerstin" userId="07a869ac-2c53-4e52-bede-da560d92d420" providerId="ADAL" clId="{9B87D221-1DA5-4A81-9093-FDA72DCF7A7F}" dt="2022-11-03T15:29:54.582" v="319" actId="947"/>
          <ac:spMkLst>
            <pc:docMk/>
            <pc:sldMk cId="2398835186" sldId="262"/>
            <ac:spMk id="44" creationId="{2711008E-708C-4656-8898-9180C02C1338}"/>
          </ac:spMkLst>
        </pc:spChg>
        <pc:spChg chg="mod">
          <ac:chgData name="Keller, Kerstin" userId="07a869ac-2c53-4e52-bede-da560d92d420" providerId="ADAL" clId="{9B87D221-1DA5-4A81-9093-FDA72DCF7A7F}" dt="2022-11-03T15:29:54.583" v="320" actId="947"/>
          <ac:spMkLst>
            <pc:docMk/>
            <pc:sldMk cId="2398835186" sldId="262"/>
            <ac:spMk id="45" creationId="{7FEEE804-500B-4BB2-AC02-A901F08B22C5}"/>
          </ac:spMkLst>
        </pc:spChg>
        <pc:spChg chg="mod">
          <ac:chgData name="Keller, Kerstin" userId="07a869ac-2c53-4e52-bede-da560d92d420" providerId="ADAL" clId="{9B87D221-1DA5-4A81-9093-FDA72DCF7A7F}" dt="2022-11-03T15:29:54.584" v="321" actId="947"/>
          <ac:spMkLst>
            <pc:docMk/>
            <pc:sldMk cId="2398835186" sldId="262"/>
            <ac:spMk id="46" creationId="{635750B0-0A1E-4DA4-836F-B9E6F4D44CE8}"/>
          </ac:spMkLst>
        </pc:spChg>
        <pc:spChg chg="mod">
          <ac:chgData name="Keller, Kerstin" userId="07a869ac-2c53-4e52-bede-da560d92d420" providerId="ADAL" clId="{9B87D221-1DA5-4A81-9093-FDA72DCF7A7F}" dt="2022-11-03T15:29:54.585" v="322" actId="947"/>
          <ac:spMkLst>
            <pc:docMk/>
            <pc:sldMk cId="2398835186" sldId="262"/>
            <ac:spMk id="47" creationId="{08F1E6B1-F9A8-471D-A616-4112F3D50086}"/>
          </ac:spMkLst>
        </pc:spChg>
        <pc:spChg chg="mod">
          <ac:chgData name="Keller, Kerstin" userId="07a869ac-2c53-4e52-bede-da560d92d420" providerId="ADAL" clId="{9B87D221-1DA5-4A81-9093-FDA72DCF7A7F}" dt="2022-11-03T15:29:54.586" v="323" actId="947"/>
          <ac:spMkLst>
            <pc:docMk/>
            <pc:sldMk cId="2398835186" sldId="262"/>
            <ac:spMk id="48" creationId="{5F9C89A4-7B5A-4990-B2EB-59A6C427990C}"/>
          </ac:spMkLst>
        </pc:spChg>
        <pc:spChg chg="mod">
          <ac:chgData name="Keller, Kerstin" userId="07a869ac-2c53-4e52-bede-da560d92d420" providerId="ADAL" clId="{9B87D221-1DA5-4A81-9093-FDA72DCF7A7F}" dt="2022-11-03T15:29:54.588" v="324" actId="947"/>
          <ac:spMkLst>
            <pc:docMk/>
            <pc:sldMk cId="2398835186" sldId="262"/>
            <ac:spMk id="49" creationId="{4EB79123-965C-43BD-A825-0955F9F4F9C0}"/>
          </ac:spMkLst>
        </pc:spChg>
        <pc:spChg chg="mod">
          <ac:chgData name="Keller, Kerstin" userId="07a869ac-2c53-4e52-bede-da560d92d420" providerId="ADAL" clId="{9B87D221-1DA5-4A81-9093-FDA72DCF7A7F}" dt="2022-11-03T15:29:54.589" v="325" actId="947"/>
          <ac:spMkLst>
            <pc:docMk/>
            <pc:sldMk cId="2398835186" sldId="262"/>
            <ac:spMk id="50" creationId="{C899A9FD-2DCD-4917-9026-6E0125C2FD27}"/>
          </ac:spMkLst>
        </pc:spChg>
        <pc:spChg chg="mod">
          <ac:chgData name="Keller, Kerstin" userId="07a869ac-2c53-4e52-bede-da560d92d420" providerId="ADAL" clId="{9B87D221-1DA5-4A81-9093-FDA72DCF7A7F}" dt="2022-11-03T15:38:48.107" v="434" actId="255"/>
          <ac:spMkLst>
            <pc:docMk/>
            <pc:sldMk cId="2398835186" sldId="262"/>
            <ac:spMk id="52" creationId="{79CBA954-116D-4D3D-BE30-EA3F10E2DE57}"/>
          </ac:spMkLst>
        </pc:spChg>
        <pc:spChg chg="add del mod">
          <ac:chgData name="Keller, Kerstin" userId="07a869ac-2c53-4e52-bede-da560d92d420" providerId="ADAL" clId="{9B87D221-1DA5-4A81-9093-FDA72DCF7A7F}" dt="2022-11-03T15:32:13.679" v="355" actId="478"/>
          <ac:spMkLst>
            <pc:docMk/>
            <pc:sldMk cId="2398835186" sldId="262"/>
            <ac:spMk id="53" creationId="{CC11C9CA-ABA0-4EEC-9747-B4BAED2ADAB2}"/>
          </ac:spMkLst>
        </pc:spChg>
        <pc:spChg chg="add del">
          <ac:chgData name="Keller, Kerstin" userId="07a869ac-2c53-4e52-bede-da560d92d420" providerId="ADAL" clId="{9B87D221-1DA5-4A81-9093-FDA72DCF7A7F}" dt="2022-11-04T08:36:01.103" v="618" actId="22"/>
          <ac:spMkLst>
            <pc:docMk/>
            <pc:sldMk cId="2398835186" sldId="262"/>
            <ac:spMk id="54" creationId="{9892074C-789B-489E-A116-E6918271C12C}"/>
          </ac:spMkLst>
        </pc:spChg>
        <pc:spChg chg="add del mod">
          <ac:chgData name="Keller, Kerstin" userId="07a869ac-2c53-4e52-bede-da560d92d420" providerId="ADAL" clId="{9B87D221-1DA5-4A81-9093-FDA72DCF7A7F}" dt="2022-11-03T15:23:29.130" v="126" actId="478"/>
          <ac:spMkLst>
            <pc:docMk/>
            <pc:sldMk cId="2398835186" sldId="262"/>
            <ac:spMk id="55" creationId="{0E073C71-71C6-4985-B21F-6651520A53E6}"/>
          </ac:spMkLst>
        </pc:spChg>
        <pc:grpChg chg="mod">
          <ac:chgData name="Keller, Kerstin" userId="07a869ac-2c53-4e52-bede-da560d92d420" providerId="ADAL" clId="{9B87D221-1DA5-4A81-9093-FDA72DCF7A7F}" dt="2022-11-03T15:37:52.290" v="427" actId="1035"/>
          <ac:grpSpMkLst>
            <pc:docMk/>
            <pc:sldMk cId="2398835186" sldId="262"/>
            <ac:grpSpMk id="4" creationId="{C8B38332-89C1-4A58-B953-54652FA6A129}"/>
          </ac:grpSpMkLst>
        </pc:grpChg>
        <pc:grpChg chg="mod">
          <ac:chgData name="Keller, Kerstin" userId="07a869ac-2c53-4e52-bede-da560d92d420" providerId="ADAL" clId="{9B87D221-1DA5-4A81-9093-FDA72DCF7A7F}" dt="2022-11-03T15:34:26.273" v="378" actId="1037"/>
          <ac:grpSpMkLst>
            <pc:docMk/>
            <pc:sldMk cId="2398835186" sldId="262"/>
            <ac:grpSpMk id="51" creationId="{435DE97C-1B0A-43B5-B773-727632CEBB57}"/>
          </ac:grpSpMkLst>
        </pc:grpChg>
        <pc:picChg chg="add mod ord">
          <ac:chgData name="Keller, Kerstin" userId="07a869ac-2c53-4e52-bede-da560d92d420" providerId="ADAL" clId="{9B87D221-1DA5-4A81-9093-FDA72DCF7A7F}" dt="2022-11-03T15:31:52.361" v="349" actId="171"/>
          <ac:picMkLst>
            <pc:docMk/>
            <pc:sldMk cId="2398835186" sldId="262"/>
            <ac:picMk id="3" creationId="{C5D16728-7D4A-4128-B382-F7539D41E0C3}"/>
          </ac:picMkLst>
        </pc:picChg>
        <pc:picChg chg="del mod">
          <ac:chgData name="Keller, Kerstin" userId="07a869ac-2c53-4e52-bede-da560d92d420" providerId="ADAL" clId="{9B87D221-1DA5-4A81-9093-FDA72DCF7A7F}" dt="2022-11-03T15:29:18.914" v="285" actId="478"/>
          <ac:picMkLst>
            <pc:docMk/>
            <pc:sldMk cId="2398835186" sldId="262"/>
            <ac:picMk id="9" creationId="{8A19F63E-518B-4B6F-8D67-379FF67D81BE}"/>
          </ac:picMkLst>
        </pc:picChg>
      </pc:sldChg>
      <pc:sldChg chg="addSp delSp modSp add del mod modAnim">
        <pc:chgData name="Keller, Kerstin" userId="07a869ac-2c53-4e52-bede-da560d92d420" providerId="ADAL" clId="{9B87D221-1DA5-4A81-9093-FDA72DCF7A7F}" dt="2022-11-04T09:28:10.911" v="1121" actId="47"/>
        <pc:sldMkLst>
          <pc:docMk/>
          <pc:sldMk cId="2650503156" sldId="263"/>
        </pc:sldMkLst>
        <pc:spChg chg="add del mod">
          <ac:chgData name="Keller, Kerstin" userId="07a869ac-2c53-4e52-bede-da560d92d420" providerId="ADAL" clId="{9B87D221-1DA5-4A81-9093-FDA72DCF7A7F}" dt="2022-11-04T08:22:05.426" v="437" actId="478"/>
          <ac:spMkLst>
            <pc:docMk/>
            <pc:sldMk cId="2650503156" sldId="263"/>
            <ac:spMk id="5" creationId="{9A390EC1-1256-440A-BBC7-73BFE4E4CA32}"/>
          </ac:spMkLst>
        </pc:spChg>
        <pc:spChg chg="del">
          <ac:chgData name="Keller, Kerstin" userId="07a869ac-2c53-4e52-bede-da560d92d420" providerId="ADAL" clId="{9B87D221-1DA5-4A81-9093-FDA72DCF7A7F}" dt="2022-11-04T08:21:56.574" v="436" actId="478"/>
          <ac:spMkLst>
            <pc:docMk/>
            <pc:sldMk cId="2650503156" sldId="263"/>
            <ac:spMk id="38" creationId="{F15AF5C6-FB06-4B22-B053-AF6BDA46D987}"/>
          </ac:spMkLst>
        </pc:spChg>
        <pc:spChg chg="mod">
          <ac:chgData name="Keller, Kerstin" userId="07a869ac-2c53-4e52-bede-da560d92d420" providerId="ADAL" clId="{9B87D221-1DA5-4A81-9093-FDA72DCF7A7F}" dt="2022-11-04T08:36:51.313" v="622"/>
          <ac:spMkLst>
            <pc:docMk/>
            <pc:sldMk cId="2650503156" sldId="263"/>
            <ac:spMk id="39" creationId="{D50C17AA-0CC0-4052-876B-CFBB9AF5CAB5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56" creationId="{DB13262A-3193-4F32-931C-EDC2C41E85B3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57" creationId="{9D4E4676-FF7B-4B4E-AEAA-8CF19A200D6C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58" creationId="{AD2B346D-0D66-4108-BFBA-018A82731E0C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59" creationId="{E5E984E2-E317-4246-A4C2-8BF18A82AA00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66" creationId="{7B3A630C-0DEE-4563-8D87-F13FFD68CDB1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67" creationId="{0DC059A3-555A-4F8E-B979-243F1B9A70C9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68" creationId="{C4F0FEFE-F8A5-41C8-87E0-93D4210EEDA5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69" creationId="{AB29A7B9-9120-4083-AF61-F9C4B4EE2720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71" creationId="{F94CEB9A-88B0-4417-9149-79D57ADDA6F9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73" creationId="{AFFD7233-B6E5-4673-A6FE-A9631A714B72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85" creationId="{BECBBE66-38C6-45D4-9685-D87E5602B0D3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86" creationId="{79AA0AF5-6B0A-4F92-8AED-B1CD5DA7E8DB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89" creationId="{5BAF6D82-91E4-44EF-BDF2-F86A832FBBD9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90" creationId="{0503C073-F994-4D36-84F4-A59EC6628FDC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95" creationId="{146E409C-3F02-43BC-BE30-CE81080E5B46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97" creationId="{BA7EBEA4-A9D1-4D2C-BA88-FC6E3356D6FC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06" creationId="{9144CC13-CF5E-4E51-9D57-4961FDE7E711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15" creationId="{8F9A5785-0824-4893-9D33-624CE7CE3A59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16" creationId="{EC6C31F2-E893-4E48-88C1-3CB45BEB8611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22" creationId="{09A24EAE-5283-4522-8331-B1FFCD092F49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27" creationId="{CAFABBE7-ABDD-435B-8F4D-4F5724877CB2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28" creationId="{97AB478F-CC91-434E-8CFC-0ADDB7BF16CA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35" creationId="{38424657-17ED-4BCE-8A12-3993D1664453}"/>
          </ac:spMkLst>
        </pc:spChg>
        <pc:spChg chg="mod">
          <ac:chgData name="Keller, Kerstin" userId="07a869ac-2c53-4e52-bede-da560d92d420" providerId="ADAL" clId="{9B87D221-1DA5-4A81-9093-FDA72DCF7A7F}" dt="2022-11-04T08:22:06.962" v="438"/>
          <ac:spMkLst>
            <pc:docMk/>
            <pc:sldMk cId="2650503156" sldId="263"/>
            <ac:spMk id="136" creationId="{4456055D-AF1E-475B-9087-CCD0738BF9CC}"/>
          </ac:spMkLst>
        </pc:spChg>
        <pc:spChg chg="del mod topLvl">
          <ac:chgData name="Keller, Kerstin" userId="07a869ac-2c53-4e52-bede-da560d92d420" providerId="ADAL" clId="{9B87D221-1DA5-4A81-9093-FDA72DCF7A7F}" dt="2022-11-04T08:26:44.977" v="565" actId="478"/>
          <ac:spMkLst>
            <pc:docMk/>
            <pc:sldMk cId="2650503156" sldId="263"/>
            <ac:spMk id="141" creationId="{FBE4FE00-44C6-4E20-9A38-D88D5E7DEB35}"/>
          </ac:spMkLst>
        </pc:spChg>
        <pc:spChg chg="mod topLvl">
          <ac:chgData name="Keller, Kerstin" userId="07a869ac-2c53-4e52-bede-da560d92d420" providerId="ADAL" clId="{9B87D221-1DA5-4A81-9093-FDA72DCF7A7F}" dt="2022-11-04T08:26:44.977" v="565" actId="478"/>
          <ac:spMkLst>
            <pc:docMk/>
            <pc:sldMk cId="2650503156" sldId="263"/>
            <ac:spMk id="142" creationId="{B782120E-DA09-426E-8E63-C5B7A37CEA50}"/>
          </ac:spMkLst>
        </pc:spChg>
        <pc:spChg chg="mod">
          <ac:chgData name="Keller, Kerstin" userId="07a869ac-2c53-4e52-bede-da560d92d420" providerId="ADAL" clId="{9B87D221-1DA5-4A81-9093-FDA72DCF7A7F}" dt="2022-11-04T08:26:41.040" v="564" actId="165"/>
          <ac:spMkLst>
            <pc:docMk/>
            <pc:sldMk cId="2650503156" sldId="263"/>
            <ac:spMk id="143" creationId="{37A168F0-3B7B-4DD4-AAE6-391D53BDD2F7}"/>
          </ac:spMkLst>
        </pc:spChg>
        <pc:spChg chg="mod">
          <ac:chgData name="Keller, Kerstin" userId="07a869ac-2c53-4e52-bede-da560d92d420" providerId="ADAL" clId="{9B87D221-1DA5-4A81-9093-FDA72DCF7A7F}" dt="2022-11-04T08:26:41.040" v="564" actId="165"/>
          <ac:spMkLst>
            <pc:docMk/>
            <pc:sldMk cId="2650503156" sldId="263"/>
            <ac:spMk id="144" creationId="{2A92E2A9-3C42-46B5-BF0C-0D8B9B1A969C}"/>
          </ac:spMkLst>
        </pc:spChg>
        <pc:spChg chg="mod">
          <ac:chgData name="Keller, Kerstin" userId="07a869ac-2c53-4e52-bede-da560d92d420" providerId="ADAL" clId="{9B87D221-1DA5-4A81-9093-FDA72DCF7A7F}" dt="2022-11-04T08:25:14.729" v="503" actId="207"/>
          <ac:spMkLst>
            <pc:docMk/>
            <pc:sldMk cId="2650503156" sldId="263"/>
            <ac:spMk id="151" creationId="{BD9C19C7-B502-40BB-82AF-D2B68DD75502}"/>
          </ac:spMkLst>
        </pc:spChg>
        <pc:spChg chg="mod">
          <ac:chgData name="Keller, Kerstin" userId="07a869ac-2c53-4e52-bede-da560d92d420" providerId="ADAL" clId="{9B87D221-1DA5-4A81-9093-FDA72DCF7A7F}" dt="2022-11-04T08:25:14.735" v="507" actId="20577"/>
          <ac:spMkLst>
            <pc:docMk/>
            <pc:sldMk cId="2650503156" sldId="263"/>
            <ac:spMk id="152" creationId="{103D6B39-BE59-44BA-BA17-7E306332BE03}"/>
          </ac:spMkLst>
        </pc:spChg>
        <pc:spChg chg="mod">
          <ac:chgData name="Keller, Kerstin" userId="07a869ac-2c53-4e52-bede-da560d92d420" providerId="ADAL" clId="{9B87D221-1DA5-4A81-9093-FDA72DCF7A7F}" dt="2022-11-04T08:25:14.722" v="497" actId="207"/>
          <ac:spMkLst>
            <pc:docMk/>
            <pc:sldMk cId="2650503156" sldId="263"/>
            <ac:spMk id="153" creationId="{38C871E2-F641-446C-91D6-7AE0281CECF8}"/>
          </ac:spMkLst>
        </pc:spChg>
        <pc:spChg chg="mod">
          <ac:chgData name="Keller, Kerstin" userId="07a869ac-2c53-4e52-bede-da560d92d420" providerId="ADAL" clId="{9B87D221-1DA5-4A81-9093-FDA72DCF7A7F}" dt="2022-11-04T08:25:14.727" v="501" actId="20577"/>
          <ac:spMkLst>
            <pc:docMk/>
            <pc:sldMk cId="2650503156" sldId="263"/>
            <ac:spMk id="154" creationId="{A1CE80E4-938B-409F-91EA-B2A7AC764C79}"/>
          </ac:spMkLst>
        </pc:spChg>
        <pc:spChg chg="mod">
          <ac:chgData name="Keller, Kerstin" userId="07a869ac-2c53-4e52-bede-da560d92d420" providerId="ADAL" clId="{9B87D221-1DA5-4A81-9093-FDA72DCF7A7F}" dt="2022-11-04T08:25:14.713" v="491" actId="207"/>
          <ac:spMkLst>
            <pc:docMk/>
            <pc:sldMk cId="2650503156" sldId="263"/>
            <ac:spMk id="156" creationId="{CFB11BE5-195F-49BD-A52A-28567F8B8F1A}"/>
          </ac:spMkLst>
        </pc:spChg>
        <pc:spChg chg="mod">
          <ac:chgData name="Keller, Kerstin" userId="07a869ac-2c53-4e52-bede-da560d92d420" providerId="ADAL" clId="{9B87D221-1DA5-4A81-9093-FDA72DCF7A7F}" dt="2022-11-04T08:25:14.719" v="495" actId="20577"/>
          <ac:spMkLst>
            <pc:docMk/>
            <pc:sldMk cId="2650503156" sldId="263"/>
            <ac:spMk id="158" creationId="{A6A5C86E-52A8-4222-AA72-135D09EA3DAB}"/>
          </ac:spMkLst>
        </pc:spChg>
        <pc:spChg chg="mod">
          <ac:chgData name="Keller, Kerstin" userId="07a869ac-2c53-4e52-bede-da560d92d420" providerId="ADAL" clId="{9B87D221-1DA5-4A81-9093-FDA72DCF7A7F}" dt="2022-11-04T08:25:14.752" v="519" actId="207"/>
          <ac:spMkLst>
            <pc:docMk/>
            <pc:sldMk cId="2650503156" sldId="263"/>
            <ac:spMk id="170" creationId="{F000307E-1219-49AC-9CF7-CF2BAB0B17A8}"/>
          </ac:spMkLst>
        </pc:spChg>
        <pc:spChg chg="mod">
          <ac:chgData name="Keller, Kerstin" userId="07a869ac-2c53-4e52-bede-da560d92d420" providerId="ADAL" clId="{9B87D221-1DA5-4A81-9093-FDA72DCF7A7F}" dt="2022-11-04T08:25:14.750" v="517" actId="20577"/>
          <ac:spMkLst>
            <pc:docMk/>
            <pc:sldMk cId="2650503156" sldId="263"/>
            <ac:spMk id="171" creationId="{D896836B-1E72-4951-92FB-51B62C118B3B}"/>
          </ac:spMkLst>
        </pc:spChg>
        <pc:spChg chg="mod">
          <ac:chgData name="Keller, Kerstin" userId="07a869ac-2c53-4e52-bede-da560d92d420" providerId="ADAL" clId="{9B87D221-1DA5-4A81-9093-FDA72DCF7A7F}" dt="2022-11-04T08:25:14.744" v="513" actId="207"/>
          <ac:spMkLst>
            <pc:docMk/>
            <pc:sldMk cId="2650503156" sldId="263"/>
            <ac:spMk id="174" creationId="{622991A5-8C74-46AE-80EF-9F70DF199CB0}"/>
          </ac:spMkLst>
        </pc:spChg>
        <pc:spChg chg="mod">
          <ac:chgData name="Keller, Kerstin" userId="07a869ac-2c53-4e52-bede-da560d92d420" providerId="ADAL" clId="{9B87D221-1DA5-4A81-9093-FDA72DCF7A7F}" dt="2022-11-04T08:25:14.741" v="511" actId="20577"/>
          <ac:spMkLst>
            <pc:docMk/>
            <pc:sldMk cId="2650503156" sldId="263"/>
            <ac:spMk id="175" creationId="{F5AA0B40-CFE0-4E9A-AB2A-658B4F47B59C}"/>
          </ac:spMkLst>
        </pc:spChg>
        <pc:spChg chg="mod">
          <ac:chgData name="Keller, Kerstin" userId="07a869ac-2c53-4e52-bede-da560d92d420" providerId="ADAL" clId="{9B87D221-1DA5-4A81-9093-FDA72DCF7A7F}" dt="2022-11-04T08:25:14.758" v="523" actId="20577"/>
          <ac:spMkLst>
            <pc:docMk/>
            <pc:sldMk cId="2650503156" sldId="263"/>
            <ac:spMk id="180" creationId="{A1F00BE8-BB15-429F-984C-EA893A358238}"/>
          </ac:spMkLst>
        </pc:spChg>
        <pc:spChg chg="mod">
          <ac:chgData name="Keller, Kerstin" userId="07a869ac-2c53-4e52-bede-da560d92d420" providerId="ADAL" clId="{9B87D221-1DA5-4A81-9093-FDA72DCF7A7F}" dt="2022-11-04T08:25:14.760" v="525" actId="207"/>
          <ac:spMkLst>
            <pc:docMk/>
            <pc:sldMk cId="2650503156" sldId="263"/>
            <ac:spMk id="182" creationId="{D38A9766-B593-43A9-9E08-98BDB79C4F6F}"/>
          </ac:spMkLst>
        </pc:spChg>
        <pc:spChg chg="mod">
          <ac:chgData name="Keller, Kerstin" userId="07a869ac-2c53-4e52-bede-da560d92d420" providerId="ADAL" clId="{9B87D221-1DA5-4A81-9093-FDA72DCF7A7F}" dt="2022-11-04T08:27:42.575" v="570" actId="165"/>
          <ac:spMkLst>
            <pc:docMk/>
            <pc:sldMk cId="2650503156" sldId="263"/>
            <ac:spMk id="191" creationId="{912D0B49-28D9-44E1-A3A3-51BB4A82568A}"/>
          </ac:spMkLst>
        </pc:spChg>
        <pc:spChg chg="mod">
          <ac:chgData name="Keller, Kerstin" userId="07a869ac-2c53-4e52-bede-da560d92d420" providerId="ADAL" clId="{9B87D221-1DA5-4A81-9093-FDA72DCF7A7F}" dt="2022-11-04T08:27:31.851" v="568" actId="165"/>
          <ac:spMkLst>
            <pc:docMk/>
            <pc:sldMk cId="2650503156" sldId="263"/>
            <ac:spMk id="200" creationId="{510DAB01-88FB-4100-A5F6-2F8E4DFA08DA}"/>
          </ac:spMkLst>
        </pc:spChg>
        <pc:spChg chg="mod">
          <ac:chgData name="Keller, Kerstin" userId="07a869ac-2c53-4e52-bede-da560d92d420" providerId="ADAL" clId="{9B87D221-1DA5-4A81-9093-FDA72DCF7A7F}" dt="2022-11-04T08:27:31.851" v="568" actId="165"/>
          <ac:spMkLst>
            <pc:docMk/>
            <pc:sldMk cId="2650503156" sldId="263"/>
            <ac:spMk id="201" creationId="{6B2D70BA-EF40-4FD6-87AB-073128169AE5}"/>
          </ac:spMkLst>
        </pc:spChg>
        <pc:spChg chg="mod">
          <ac:chgData name="Keller, Kerstin" userId="07a869ac-2c53-4e52-bede-da560d92d420" providerId="ADAL" clId="{9B87D221-1DA5-4A81-9093-FDA72DCF7A7F}" dt="2022-11-04T08:30:17.115" v="605" actId="208"/>
          <ac:spMkLst>
            <pc:docMk/>
            <pc:sldMk cId="2650503156" sldId="263"/>
            <ac:spMk id="207" creationId="{E8CF9293-8254-4DA2-B276-4B2EF89B2199}"/>
          </ac:spMkLst>
        </pc:spChg>
        <pc:spChg chg="mod">
          <ac:chgData name="Keller, Kerstin" userId="07a869ac-2c53-4e52-bede-da560d92d420" providerId="ADAL" clId="{9B87D221-1DA5-4A81-9093-FDA72DCF7A7F}" dt="2022-11-04T08:27:25.905" v="567" actId="165"/>
          <ac:spMkLst>
            <pc:docMk/>
            <pc:sldMk cId="2650503156" sldId="263"/>
            <ac:spMk id="212" creationId="{ED84834B-93FA-4252-8F8D-D0C4CBE219BC}"/>
          </ac:spMkLst>
        </pc:spChg>
        <pc:spChg chg="mod">
          <ac:chgData name="Keller, Kerstin" userId="07a869ac-2c53-4e52-bede-da560d92d420" providerId="ADAL" clId="{9B87D221-1DA5-4A81-9093-FDA72DCF7A7F}" dt="2022-11-04T08:27:25.905" v="567" actId="165"/>
          <ac:spMkLst>
            <pc:docMk/>
            <pc:sldMk cId="2650503156" sldId="263"/>
            <ac:spMk id="213" creationId="{C2216276-8EEE-4599-853D-CA57470FBE37}"/>
          </ac:spMkLst>
        </pc:spChg>
        <pc:spChg chg="mod">
          <ac:chgData name="Keller, Kerstin" userId="07a869ac-2c53-4e52-bede-da560d92d420" providerId="ADAL" clId="{9B87D221-1DA5-4A81-9093-FDA72DCF7A7F}" dt="2022-11-04T08:28:47.166" v="576" actId="165"/>
          <ac:spMkLst>
            <pc:docMk/>
            <pc:sldMk cId="2650503156" sldId="263"/>
            <ac:spMk id="220" creationId="{657DE5A1-A14A-43E0-A8FD-52F507B27C92}"/>
          </ac:spMkLst>
        </pc:spChg>
        <pc:spChg chg="mod">
          <ac:chgData name="Keller, Kerstin" userId="07a869ac-2c53-4e52-bede-da560d92d420" providerId="ADAL" clId="{9B87D221-1DA5-4A81-9093-FDA72DCF7A7F}" dt="2022-11-04T08:28:47.166" v="576" actId="165"/>
          <ac:spMkLst>
            <pc:docMk/>
            <pc:sldMk cId="2650503156" sldId="263"/>
            <ac:spMk id="221" creationId="{41EC78F2-416B-4428-9193-6D393782322B}"/>
          </ac:spMkLst>
        </pc:spChg>
        <pc:grpChg chg="del">
          <ac:chgData name="Keller, Kerstin" userId="07a869ac-2c53-4e52-bede-da560d92d420" providerId="ADAL" clId="{9B87D221-1DA5-4A81-9093-FDA72DCF7A7F}" dt="2022-11-04T08:21:56.574" v="436" actId="478"/>
          <ac:grpSpMkLst>
            <pc:docMk/>
            <pc:sldMk cId="2650503156" sldId="263"/>
            <ac:grpSpMk id="51" creationId="{435DE97C-1B0A-43B5-B773-727632CEBB57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53" creationId="{4B75772C-9698-4DC6-89CA-ADFB2811FE09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54" creationId="{6148F677-F69B-4E9A-893A-234E28E855D6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55" creationId="{A4334B27-E44B-41D4-B9F7-BA733C380C85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60" creationId="{3A62F699-B6CC-4D33-A840-2FD14B50AAD0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61" creationId="{82E8E41F-462D-436C-8F70-7D8528E946BF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62" creationId="{59887691-BF9F-4565-A6EB-8B425B6BA183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63" creationId="{F9615357-C424-4CA7-8BA8-48E81723A33B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64" creationId="{12E3F055-6C54-45E1-961A-9060E53FAEC7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72" creationId="{554515E3-BC0D-4B12-902E-F519B776E01A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75" creationId="{D6C09395-6AD9-422A-A813-2D745F48FB0E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78" creationId="{38AA280A-C753-442E-BD44-9E31D0784026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81" creationId="{57FE6FA1-2C6E-4FC3-AD31-A3D440B53E74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84" creationId="{D6E5CA61-3DF9-4F05-BF6E-AD6E3DA393A1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88" creationId="{5B54F44A-AE64-4100-990D-0B4751805299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92" creationId="{558D8A92-2598-4177-97D0-113D44023219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94" creationId="{94B29D9C-8391-45D9-BBDD-F76CFA5FE400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98" creationId="{C52B25D6-3F46-470A-8F36-73A6D5E299E1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01" creationId="{232044E3-28D5-40FD-99E1-E7DBA822380E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107" creationId="{467524B2-57B5-4EC9-8034-E79009BC9142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110" creationId="{FD12D941-0CCC-440C-8EEA-6E75593F4E6E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11" creationId="{20FCB1C5-3D24-4B5C-BBED-73F0883B1327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14" creationId="{CF4C0415-8318-4672-8139-A65F35A31A30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118" creationId="{A6730722-F3D4-49CE-9875-BF8AE9079CA6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19" creationId="{5C3B1B2B-361E-4AD7-A9A5-6FF1D6C052B2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21" creationId="{4073B80F-7A18-4AF5-A5B3-B9AFB8226F0D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26" creationId="{09C5D6B4-7EC4-42FD-8C50-B6C84B2FED2A}"/>
          </ac:grpSpMkLst>
        </pc:grpChg>
        <pc:grpChg chg="add del mod">
          <ac:chgData name="Keller, Kerstin" userId="07a869ac-2c53-4e52-bede-da560d92d420" providerId="ADAL" clId="{9B87D221-1DA5-4A81-9093-FDA72DCF7A7F}" dt="2022-11-04T08:22:59.330" v="445"/>
          <ac:grpSpMkLst>
            <pc:docMk/>
            <pc:sldMk cId="2650503156" sldId="263"/>
            <ac:grpSpMk id="130" creationId="{23414783-9037-49D7-AB39-545A6FEE068A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31" creationId="{FF910F27-CC21-40F3-8536-8B0924BFB528}"/>
          </ac:grpSpMkLst>
        </pc:grpChg>
        <pc:grpChg chg="mod">
          <ac:chgData name="Keller, Kerstin" userId="07a869ac-2c53-4e52-bede-da560d92d420" providerId="ADAL" clId="{9B87D221-1DA5-4A81-9093-FDA72DCF7A7F}" dt="2022-11-04T08:22:06.962" v="438"/>
          <ac:grpSpMkLst>
            <pc:docMk/>
            <pc:sldMk cId="2650503156" sldId="263"/>
            <ac:grpSpMk id="134" creationId="{A3865732-AED8-45C5-BDAD-ADF1B269717D}"/>
          </ac:grpSpMkLst>
        </pc:grpChg>
        <pc:grpChg chg="add del mod">
          <ac:chgData name="Keller, Kerstin" userId="07a869ac-2c53-4e52-bede-da560d92d420" providerId="ADAL" clId="{9B87D221-1DA5-4A81-9093-FDA72DCF7A7F}" dt="2022-11-04T08:26:41.040" v="564" actId="165"/>
          <ac:grpSpMkLst>
            <pc:docMk/>
            <pc:sldMk cId="2650503156" sldId="263"/>
            <ac:grpSpMk id="138" creationId="{2DE22786-EEB4-4C84-96F4-B8D37A414073}"/>
          </ac:grpSpMkLst>
        </pc:grpChg>
        <pc:grpChg chg="del mod topLvl">
          <ac:chgData name="Keller, Kerstin" userId="07a869ac-2c53-4e52-bede-da560d92d420" providerId="ADAL" clId="{9B87D221-1DA5-4A81-9093-FDA72DCF7A7F}" dt="2022-11-04T08:26:50.921" v="566" actId="478"/>
          <ac:grpSpMkLst>
            <pc:docMk/>
            <pc:sldMk cId="2650503156" sldId="263"/>
            <ac:grpSpMk id="139" creationId="{1112E582-AD9D-4DBF-963F-16C3AEBCD5DC}"/>
          </ac:grpSpMkLst>
        </pc:grpChg>
        <pc:grpChg chg="del mod topLvl">
          <ac:chgData name="Keller, Kerstin" userId="07a869ac-2c53-4e52-bede-da560d92d420" providerId="ADAL" clId="{9B87D221-1DA5-4A81-9093-FDA72DCF7A7F}" dt="2022-11-04T08:26:44.977" v="565" actId="478"/>
          <ac:grpSpMkLst>
            <pc:docMk/>
            <pc:sldMk cId="2650503156" sldId="263"/>
            <ac:grpSpMk id="140" creationId="{3D34E879-D5FC-499E-A61B-EFD36F2B73F4}"/>
          </ac:grpSpMkLst>
        </pc:grpChg>
        <pc:grpChg chg="add mod">
          <ac:chgData name="Keller, Kerstin" userId="07a869ac-2c53-4e52-bede-da560d92d420" providerId="ADAL" clId="{9B87D221-1DA5-4A81-9093-FDA72DCF7A7F}" dt="2022-11-04T08:25:29.308" v="563" actId="1035"/>
          <ac:grpSpMkLst>
            <pc:docMk/>
            <pc:sldMk cId="2650503156" sldId="263"/>
            <ac:grpSpMk id="145" creationId="{6CF830D9-F545-40FE-AE41-DA93E812F7E8}"/>
          </ac:grpSpMkLst>
        </pc:grpChg>
        <pc:grpChg chg="mod">
          <ac:chgData name="Keller, Kerstin" userId="07a869ac-2c53-4e52-bede-da560d92d420" providerId="ADAL" clId="{9B87D221-1DA5-4A81-9093-FDA72DCF7A7F}" dt="2022-11-04T08:23:00.774" v="446"/>
          <ac:grpSpMkLst>
            <pc:docMk/>
            <pc:sldMk cId="2650503156" sldId="263"/>
            <ac:grpSpMk id="146" creationId="{527C9C2B-1A13-473B-8BE8-D61FBCB5250B}"/>
          </ac:grpSpMkLst>
        </pc:grpChg>
        <pc:grpChg chg="mod">
          <ac:chgData name="Keller, Kerstin" userId="07a869ac-2c53-4e52-bede-da560d92d420" providerId="ADAL" clId="{9B87D221-1DA5-4A81-9093-FDA72DCF7A7F}" dt="2022-11-04T08:23:00.774" v="446"/>
          <ac:grpSpMkLst>
            <pc:docMk/>
            <pc:sldMk cId="2650503156" sldId="263"/>
            <ac:grpSpMk id="147" creationId="{2FCED280-73E2-44CC-B6C5-20DBCFEBB5B9}"/>
          </ac:grpSpMkLst>
        </pc:grpChg>
        <pc:grpChg chg="mod">
          <ac:chgData name="Keller, Kerstin" userId="07a869ac-2c53-4e52-bede-da560d92d420" providerId="ADAL" clId="{9B87D221-1DA5-4A81-9093-FDA72DCF7A7F}" dt="2022-11-04T08:23:00.774" v="446"/>
          <ac:grpSpMkLst>
            <pc:docMk/>
            <pc:sldMk cId="2650503156" sldId="263"/>
            <ac:grpSpMk id="148" creationId="{95FB53B8-1735-40D6-9CAC-E5CEC6B89260}"/>
          </ac:grpSpMkLst>
        </pc:grpChg>
        <pc:grpChg chg="mod">
          <ac:chgData name="Keller, Kerstin" userId="07a869ac-2c53-4e52-bede-da560d92d420" providerId="ADAL" clId="{9B87D221-1DA5-4A81-9093-FDA72DCF7A7F}" dt="2022-11-04T08:23:00.774" v="446"/>
          <ac:grpSpMkLst>
            <pc:docMk/>
            <pc:sldMk cId="2650503156" sldId="263"/>
            <ac:grpSpMk id="149" creationId="{0D66C270-FD40-4CFE-B08B-615DC6A0BA79}"/>
          </ac:grpSpMkLst>
        </pc:grpChg>
        <pc:grpChg chg="mod">
          <ac:chgData name="Keller, Kerstin" userId="07a869ac-2c53-4e52-bede-da560d92d420" providerId="ADAL" clId="{9B87D221-1DA5-4A81-9093-FDA72DCF7A7F}" dt="2022-11-04T08:23:00.774" v="446"/>
          <ac:grpSpMkLst>
            <pc:docMk/>
            <pc:sldMk cId="2650503156" sldId="263"/>
            <ac:grpSpMk id="157" creationId="{B3E44FF3-EF3B-4F72-AE3A-261BAF34D180}"/>
          </ac:grpSpMkLst>
        </pc:grpChg>
        <pc:grpChg chg="add del mod">
          <ac:chgData name="Keller, Kerstin" userId="07a869ac-2c53-4e52-bede-da560d92d420" providerId="ADAL" clId="{9B87D221-1DA5-4A81-9093-FDA72DCF7A7F}" dt="2022-11-04T08:23:44.789" v="452" actId="165"/>
          <ac:grpSpMkLst>
            <pc:docMk/>
            <pc:sldMk cId="2650503156" sldId="263"/>
            <ac:grpSpMk id="160" creationId="{143BEC69-4C3D-44C3-89CC-456D12FF18AB}"/>
          </ac:grpSpMkLst>
        </pc:grpChg>
        <pc:grpChg chg="del mod topLvl">
          <ac:chgData name="Keller, Kerstin" userId="07a869ac-2c53-4e52-bede-da560d92d420" providerId="ADAL" clId="{9B87D221-1DA5-4A81-9093-FDA72DCF7A7F}" dt="2022-11-04T08:28:25.679" v="573" actId="478"/>
          <ac:grpSpMkLst>
            <pc:docMk/>
            <pc:sldMk cId="2650503156" sldId="263"/>
            <ac:grpSpMk id="163" creationId="{CFB9FFE6-57A8-44ED-BDAE-EC7D00501D1D}"/>
          </ac:grpSpMkLst>
        </pc:grpChg>
        <pc:grpChg chg="mod topLvl">
          <ac:chgData name="Keller, Kerstin" userId="07a869ac-2c53-4e52-bede-da560d92d420" providerId="ADAL" clId="{9B87D221-1DA5-4A81-9093-FDA72DCF7A7F}" dt="2022-11-04T08:25:29.308" v="563" actId="1035"/>
          <ac:grpSpMkLst>
            <pc:docMk/>
            <pc:sldMk cId="2650503156" sldId="263"/>
            <ac:grpSpMk id="166" creationId="{02142F18-C2F4-4F2C-818C-74796BAF2086}"/>
          </ac:grpSpMkLst>
        </pc:grpChg>
        <pc:grpChg chg="mod">
          <ac:chgData name="Keller, Kerstin" userId="07a869ac-2c53-4e52-bede-da560d92d420" providerId="ADAL" clId="{9B87D221-1DA5-4A81-9093-FDA72DCF7A7F}" dt="2022-11-04T08:23:44.789" v="452" actId="165"/>
          <ac:grpSpMkLst>
            <pc:docMk/>
            <pc:sldMk cId="2650503156" sldId="263"/>
            <ac:grpSpMk id="169" creationId="{08866954-FC1C-402D-B97B-6AE7BA4F4A34}"/>
          </ac:grpSpMkLst>
        </pc:grpChg>
        <pc:grpChg chg="mod">
          <ac:chgData name="Keller, Kerstin" userId="07a869ac-2c53-4e52-bede-da560d92d420" providerId="ADAL" clId="{9B87D221-1DA5-4A81-9093-FDA72DCF7A7F}" dt="2022-11-04T08:23:44.789" v="452" actId="165"/>
          <ac:grpSpMkLst>
            <pc:docMk/>
            <pc:sldMk cId="2650503156" sldId="263"/>
            <ac:grpSpMk id="173" creationId="{E9BA99B2-ADA2-4792-88E8-83A80410F28F}"/>
          </ac:grpSpMkLst>
        </pc:grpChg>
        <pc:grpChg chg="add del mod">
          <ac:chgData name="Keller, Kerstin" userId="07a869ac-2c53-4e52-bede-da560d92d420" providerId="ADAL" clId="{9B87D221-1DA5-4A81-9093-FDA72DCF7A7F}" dt="2022-11-04T08:23:22.886" v="450" actId="165"/>
          <ac:grpSpMkLst>
            <pc:docMk/>
            <pc:sldMk cId="2650503156" sldId="263"/>
            <ac:grpSpMk id="177" creationId="{01E5D1DE-609E-4E70-AD0D-06805275EB9B}"/>
          </ac:grpSpMkLst>
        </pc:grpChg>
        <pc:grpChg chg="mod topLvl">
          <ac:chgData name="Keller, Kerstin" userId="07a869ac-2c53-4e52-bede-da560d92d420" providerId="ADAL" clId="{9B87D221-1DA5-4A81-9093-FDA72DCF7A7F}" dt="2022-11-04T08:25:29.308" v="563" actId="1035"/>
          <ac:grpSpMkLst>
            <pc:docMk/>
            <pc:sldMk cId="2650503156" sldId="263"/>
            <ac:grpSpMk id="179" creationId="{B4B4BB55-2B3F-4E15-8A63-BD327D34B35C}"/>
          </ac:grpSpMkLst>
        </pc:grpChg>
        <pc:grpChg chg="add del mod">
          <ac:chgData name="Keller, Kerstin" userId="07a869ac-2c53-4e52-bede-da560d92d420" providerId="ADAL" clId="{9B87D221-1DA5-4A81-9093-FDA72DCF7A7F}" dt="2022-11-04T08:27:42.575" v="570" actId="165"/>
          <ac:grpSpMkLst>
            <pc:docMk/>
            <pc:sldMk cId="2650503156" sldId="263"/>
            <ac:grpSpMk id="183" creationId="{75EAF39C-1861-4A0C-B23F-2AB492FD4957}"/>
          </ac:grpSpMkLst>
        </pc:grpChg>
        <pc:grpChg chg="mod topLvl">
          <ac:chgData name="Keller, Kerstin" userId="07a869ac-2c53-4e52-bede-da560d92d420" providerId="ADAL" clId="{9B87D221-1DA5-4A81-9093-FDA72DCF7A7F}" dt="2022-11-04T08:27:42.575" v="570" actId="165"/>
          <ac:grpSpMkLst>
            <pc:docMk/>
            <pc:sldMk cId="2650503156" sldId="263"/>
            <ac:grpSpMk id="186" creationId="{E00B3072-77F9-42CB-95B2-66B63FE8079E}"/>
          </ac:grpSpMkLst>
        </pc:grpChg>
        <pc:grpChg chg="add del mod">
          <ac:chgData name="Keller, Kerstin" userId="07a869ac-2c53-4e52-bede-da560d92d420" providerId="ADAL" clId="{9B87D221-1DA5-4A81-9093-FDA72DCF7A7F}" dt="2022-11-04T08:27:37.676" v="569" actId="165"/>
          <ac:grpSpMkLst>
            <pc:docMk/>
            <pc:sldMk cId="2650503156" sldId="263"/>
            <ac:grpSpMk id="192" creationId="{4255F2D9-A07A-4E21-B206-52B50A63CFB3}"/>
          </ac:grpSpMkLst>
        </pc:grpChg>
        <pc:grpChg chg="add del mod">
          <ac:chgData name="Keller, Kerstin" userId="07a869ac-2c53-4e52-bede-da560d92d420" providerId="ADAL" clId="{9B87D221-1DA5-4A81-9093-FDA72DCF7A7F}" dt="2022-11-04T08:27:31.851" v="568" actId="165"/>
          <ac:grpSpMkLst>
            <pc:docMk/>
            <pc:sldMk cId="2650503156" sldId="263"/>
            <ac:grpSpMk id="195" creationId="{A36F332D-C6FA-4D21-9E0D-6923D410083E}"/>
          </ac:grpSpMkLst>
        </pc:grpChg>
        <pc:grpChg chg="mod topLvl">
          <ac:chgData name="Keller, Kerstin" userId="07a869ac-2c53-4e52-bede-da560d92d420" providerId="ADAL" clId="{9B87D221-1DA5-4A81-9093-FDA72DCF7A7F}" dt="2022-11-04T08:27:31.851" v="568" actId="165"/>
          <ac:grpSpMkLst>
            <pc:docMk/>
            <pc:sldMk cId="2650503156" sldId="263"/>
            <ac:grpSpMk id="196" creationId="{46D6FFA7-485D-48B1-919D-95E3105748E9}"/>
          </ac:grpSpMkLst>
        </pc:grpChg>
        <pc:grpChg chg="mod">
          <ac:chgData name="Keller, Kerstin" userId="07a869ac-2c53-4e52-bede-da560d92d420" providerId="ADAL" clId="{9B87D221-1DA5-4A81-9093-FDA72DCF7A7F}" dt="2022-11-04T08:27:31.851" v="568" actId="165"/>
          <ac:grpSpMkLst>
            <pc:docMk/>
            <pc:sldMk cId="2650503156" sldId="263"/>
            <ac:grpSpMk id="199" creationId="{10713387-BD32-40AB-AC3E-13FB4172B198}"/>
          </ac:grpSpMkLst>
        </pc:grpChg>
        <pc:grpChg chg="add del mod">
          <ac:chgData name="Keller, Kerstin" userId="07a869ac-2c53-4e52-bede-da560d92d420" providerId="ADAL" clId="{9B87D221-1DA5-4A81-9093-FDA72DCF7A7F}" dt="2022-11-04T08:27:25.905" v="567" actId="165"/>
          <ac:grpSpMkLst>
            <pc:docMk/>
            <pc:sldMk cId="2650503156" sldId="263"/>
            <ac:grpSpMk id="203" creationId="{666CD1D5-FA49-49CD-B03A-3C78772A39E4}"/>
          </ac:grpSpMkLst>
        </pc:grpChg>
        <pc:grpChg chg="mod topLvl">
          <ac:chgData name="Keller, Kerstin" userId="07a869ac-2c53-4e52-bede-da560d92d420" providerId="ADAL" clId="{9B87D221-1DA5-4A81-9093-FDA72DCF7A7F}" dt="2022-11-04T08:27:25.905" v="567" actId="165"/>
          <ac:grpSpMkLst>
            <pc:docMk/>
            <pc:sldMk cId="2650503156" sldId="263"/>
            <ac:grpSpMk id="204" creationId="{3DED22F5-B6B9-45FB-B74F-A9FA0BEB6324}"/>
          </ac:grpSpMkLst>
        </pc:grpChg>
        <pc:grpChg chg="mod topLvl">
          <ac:chgData name="Keller, Kerstin" userId="07a869ac-2c53-4e52-bede-da560d92d420" providerId="ADAL" clId="{9B87D221-1DA5-4A81-9093-FDA72DCF7A7F}" dt="2022-11-04T08:27:25.905" v="567" actId="165"/>
          <ac:grpSpMkLst>
            <pc:docMk/>
            <pc:sldMk cId="2650503156" sldId="263"/>
            <ac:grpSpMk id="206" creationId="{68B887B4-2698-4486-A624-8834A560141C}"/>
          </ac:grpSpMkLst>
        </pc:grpChg>
        <pc:grpChg chg="mod">
          <ac:chgData name="Keller, Kerstin" userId="07a869ac-2c53-4e52-bede-da560d92d420" providerId="ADAL" clId="{9B87D221-1DA5-4A81-9093-FDA72DCF7A7F}" dt="2022-11-04T08:27:25.905" v="567" actId="165"/>
          <ac:grpSpMkLst>
            <pc:docMk/>
            <pc:sldMk cId="2650503156" sldId="263"/>
            <ac:grpSpMk id="211" creationId="{A15DD9C1-95D6-4B15-9123-5249ADC9E586}"/>
          </ac:grpSpMkLst>
        </pc:grpChg>
        <pc:grpChg chg="add del mod">
          <ac:chgData name="Keller, Kerstin" userId="07a869ac-2c53-4e52-bede-da560d92d420" providerId="ADAL" clId="{9B87D221-1DA5-4A81-9093-FDA72DCF7A7F}" dt="2022-11-04T08:28:47.166" v="576" actId="165"/>
          <ac:grpSpMkLst>
            <pc:docMk/>
            <pc:sldMk cId="2650503156" sldId="263"/>
            <ac:grpSpMk id="215" creationId="{61BC677B-D3A6-4856-88D1-58D7119D3C50}"/>
          </ac:grpSpMkLst>
        </pc:grpChg>
        <pc:grpChg chg="mod topLvl">
          <ac:chgData name="Keller, Kerstin" userId="07a869ac-2c53-4e52-bede-da560d92d420" providerId="ADAL" clId="{9B87D221-1DA5-4A81-9093-FDA72DCF7A7F}" dt="2022-11-04T08:28:47.166" v="576" actId="165"/>
          <ac:grpSpMkLst>
            <pc:docMk/>
            <pc:sldMk cId="2650503156" sldId="263"/>
            <ac:grpSpMk id="216" creationId="{7CB2D6D0-D795-4C92-BCCC-33F40467EC87}"/>
          </ac:grpSpMkLst>
        </pc:grpChg>
        <pc:grpChg chg="mod">
          <ac:chgData name="Keller, Kerstin" userId="07a869ac-2c53-4e52-bede-da560d92d420" providerId="ADAL" clId="{9B87D221-1DA5-4A81-9093-FDA72DCF7A7F}" dt="2022-11-04T08:28:47.166" v="576" actId="165"/>
          <ac:grpSpMkLst>
            <pc:docMk/>
            <pc:sldMk cId="2650503156" sldId="263"/>
            <ac:grpSpMk id="219" creationId="{127BDD4E-9892-4A7D-B2A6-CE7E1FC588AA}"/>
          </ac:grpSpMkLst>
        </pc:grp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65" creationId="{F756EF6E-BC51-4546-927C-A80B669C5551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70" creationId="{C15559AF-1023-4708-92B5-9FF18E03BA0A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74" creationId="{22DF75D2-FEBD-48BF-B658-C9806360AE26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77" creationId="{45AA4266-D711-4E1C-9A5F-C9E8B4A1B0A2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80" creationId="{A33E323B-AE79-4181-A09F-551731A8CF6F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83" creationId="{A0A4019C-7A95-4874-B3F1-8C1758CEFD32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87" creationId="{F2493147-84E5-4F5C-A045-F31FA37CBA35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91" creationId="{9EEC8FA0-9528-4E47-B6C8-3F0FC423F457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96" creationId="{82E72929-B8E0-4F5B-9FE2-33571930D963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02" creationId="{92C5EA43-4B7D-4932-8065-EA8951E4561A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03" creationId="{2647159F-BF9B-426B-BF31-F8E619C88677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05" creationId="{EBB30FFD-A8CB-4A80-AF18-12C17874C3F6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09" creationId="{CFDB204D-7EB5-4A39-8721-721F0C8F54CB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13" creationId="{8A114D60-835D-4820-9FB5-F179BBF7293C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17" creationId="{7776BEE8-CB65-4A0E-BD3C-082EDD1D4F78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29" creationId="{68CC581D-E937-4126-8675-D4A9BDC2FB28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33" creationId="{83F63114-4A32-4626-96E1-DF4180D8919C}"/>
          </ac:picMkLst>
        </pc:picChg>
        <pc:picChg chg="mod">
          <ac:chgData name="Keller, Kerstin" userId="07a869ac-2c53-4e52-bede-da560d92d420" providerId="ADAL" clId="{9B87D221-1DA5-4A81-9093-FDA72DCF7A7F}" dt="2022-11-04T08:22:06.962" v="438"/>
          <ac:picMkLst>
            <pc:docMk/>
            <pc:sldMk cId="2650503156" sldId="263"/>
            <ac:picMk id="137" creationId="{944E3CFC-35B6-4B9C-A710-3F1B1300CB10}"/>
          </ac:picMkLst>
        </pc:picChg>
        <pc:picChg chg="mod">
          <ac:chgData name="Keller, Kerstin" userId="07a869ac-2c53-4e52-bede-da560d92d420" providerId="ADAL" clId="{9B87D221-1DA5-4A81-9093-FDA72DCF7A7F}" dt="2022-11-04T08:23:00.774" v="446"/>
          <ac:picMkLst>
            <pc:docMk/>
            <pc:sldMk cId="2650503156" sldId="263"/>
            <ac:picMk id="150" creationId="{37E5D57B-63D2-4D98-9EFD-75DF89B3BD4A}"/>
          </ac:picMkLst>
        </pc:picChg>
        <pc:picChg chg="mod">
          <ac:chgData name="Keller, Kerstin" userId="07a869ac-2c53-4e52-bede-da560d92d420" providerId="ADAL" clId="{9B87D221-1DA5-4A81-9093-FDA72DCF7A7F}" dt="2022-11-04T08:23:00.774" v="446"/>
          <ac:picMkLst>
            <pc:docMk/>
            <pc:sldMk cId="2650503156" sldId="263"/>
            <ac:picMk id="155" creationId="{A76FE22E-59CE-448B-BCB7-38EE0D21C02D}"/>
          </ac:picMkLst>
        </pc:picChg>
        <pc:picChg chg="mod">
          <ac:chgData name="Keller, Kerstin" userId="07a869ac-2c53-4e52-bede-da560d92d420" providerId="ADAL" clId="{9B87D221-1DA5-4A81-9093-FDA72DCF7A7F}" dt="2022-11-04T08:23:00.774" v="446"/>
          <ac:picMkLst>
            <pc:docMk/>
            <pc:sldMk cId="2650503156" sldId="263"/>
            <ac:picMk id="159" creationId="{CDA6A885-8F33-462B-9950-4BDAAAF215C0}"/>
          </ac:picMkLst>
        </pc:picChg>
        <pc:picChg chg="del mod topLvl">
          <ac:chgData name="Keller, Kerstin" userId="07a869ac-2c53-4e52-bede-da560d92d420" providerId="ADAL" clId="{9B87D221-1DA5-4A81-9093-FDA72DCF7A7F}" dt="2022-11-04T08:28:30.163" v="575" actId="478"/>
          <ac:picMkLst>
            <pc:docMk/>
            <pc:sldMk cId="2650503156" sldId="263"/>
            <ac:picMk id="162" creationId="{C7587F2F-B776-458A-8676-F0B8A7D12E89}"/>
          </ac:picMkLst>
        </pc:picChg>
        <pc:picChg chg="mod topLvl">
          <ac:chgData name="Keller, Kerstin" userId="07a869ac-2c53-4e52-bede-da560d92d420" providerId="ADAL" clId="{9B87D221-1DA5-4A81-9093-FDA72DCF7A7F}" dt="2022-11-04T08:40:03.927" v="630" actId="1037"/>
          <ac:picMkLst>
            <pc:docMk/>
            <pc:sldMk cId="2650503156" sldId="263"/>
            <ac:picMk id="165" creationId="{2626B473-3FB2-4AB1-A5C0-DC0A23E5E46D}"/>
          </ac:picMkLst>
        </pc:picChg>
        <pc:picChg chg="mod topLvl">
          <ac:chgData name="Keller, Kerstin" userId="07a869ac-2c53-4e52-bede-da560d92d420" providerId="ADAL" clId="{9B87D221-1DA5-4A81-9093-FDA72DCF7A7F}" dt="2022-11-04T08:29:14.058" v="592" actId="207"/>
          <ac:picMkLst>
            <pc:docMk/>
            <pc:sldMk cId="2650503156" sldId="263"/>
            <ac:picMk id="168" creationId="{1A625E57-4D81-4328-99A6-CACD142809B4}"/>
          </ac:picMkLst>
        </pc:picChg>
        <pc:picChg chg="mod">
          <ac:chgData name="Keller, Kerstin" userId="07a869ac-2c53-4e52-bede-da560d92d420" providerId="ADAL" clId="{9B87D221-1DA5-4A81-9093-FDA72DCF7A7F}" dt="2022-11-04T08:23:44.789" v="452" actId="165"/>
          <ac:picMkLst>
            <pc:docMk/>
            <pc:sldMk cId="2650503156" sldId="263"/>
            <ac:picMk id="172" creationId="{B595B7A0-BF02-46E6-8F54-93D7B10B2CD9}"/>
          </ac:picMkLst>
        </pc:picChg>
        <pc:picChg chg="mod">
          <ac:chgData name="Keller, Kerstin" userId="07a869ac-2c53-4e52-bede-da560d92d420" providerId="ADAL" clId="{9B87D221-1DA5-4A81-9093-FDA72DCF7A7F}" dt="2022-11-04T08:23:44.789" v="452" actId="165"/>
          <ac:picMkLst>
            <pc:docMk/>
            <pc:sldMk cId="2650503156" sldId="263"/>
            <ac:picMk id="176" creationId="{688F4210-718E-463B-A0E1-5318E13CEA81}"/>
          </ac:picMkLst>
        </pc:picChg>
        <pc:picChg chg="mod">
          <ac:chgData name="Keller, Kerstin" userId="07a869ac-2c53-4e52-bede-da560d92d420" providerId="ADAL" clId="{9B87D221-1DA5-4A81-9093-FDA72DCF7A7F}" dt="2022-11-04T08:23:22.886" v="450" actId="165"/>
          <ac:picMkLst>
            <pc:docMk/>
            <pc:sldMk cId="2650503156" sldId="263"/>
            <ac:picMk id="181" creationId="{3FBFA40C-D8B8-4792-A20C-5CC212972633}"/>
          </ac:picMkLst>
        </pc:picChg>
        <pc:picChg chg="mod topLvl">
          <ac:chgData name="Keller, Kerstin" userId="07a869ac-2c53-4e52-bede-da560d92d420" providerId="ADAL" clId="{9B87D221-1DA5-4A81-9093-FDA72DCF7A7F}" dt="2022-11-04T08:29:14.011" v="584" actId="207"/>
          <ac:picMkLst>
            <pc:docMk/>
            <pc:sldMk cId="2650503156" sldId="263"/>
            <ac:picMk id="187" creationId="{76D841DF-484D-4369-9E9D-B39E4D60AF35}"/>
          </ac:picMkLst>
        </pc:picChg>
        <pc:picChg chg="mod topLvl">
          <ac:chgData name="Keller, Kerstin" userId="07a869ac-2c53-4e52-bede-da560d92d420" providerId="ADAL" clId="{9B87D221-1DA5-4A81-9093-FDA72DCF7A7F}" dt="2022-11-04T08:29:14.001" v="582" actId="207"/>
          <ac:picMkLst>
            <pc:docMk/>
            <pc:sldMk cId="2650503156" sldId="263"/>
            <ac:picMk id="188" creationId="{309A6D68-EDF7-452F-9B95-6C49BB028D0C}"/>
          </ac:picMkLst>
        </pc:picChg>
        <pc:picChg chg="mod">
          <ac:chgData name="Keller, Kerstin" userId="07a869ac-2c53-4e52-bede-da560d92d420" providerId="ADAL" clId="{9B87D221-1DA5-4A81-9093-FDA72DCF7A7F}" dt="2022-11-04T08:27:42.575" v="570" actId="165"/>
          <ac:picMkLst>
            <pc:docMk/>
            <pc:sldMk cId="2650503156" sldId="263"/>
            <ac:picMk id="190" creationId="{9DB295D8-73BE-4063-BCA6-2F5AE56FB3E2}"/>
          </ac:picMkLst>
        </pc:picChg>
        <pc:picChg chg="mod topLvl">
          <ac:chgData name="Keller, Kerstin" userId="07a869ac-2c53-4e52-bede-da560d92d420" providerId="ADAL" clId="{9B87D221-1DA5-4A81-9093-FDA72DCF7A7F}" dt="2022-11-04T08:29:14.023" v="586" actId="207"/>
          <ac:picMkLst>
            <pc:docMk/>
            <pc:sldMk cId="2650503156" sldId="263"/>
            <ac:picMk id="194" creationId="{58CC36A8-4852-40EC-8CFB-8BDDDA995B11}"/>
          </ac:picMkLst>
        </pc:picChg>
        <pc:picChg chg="mod topLvl">
          <ac:chgData name="Keller, Kerstin" userId="07a869ac-2c53-4e52-bede-da560d92d420" providerId="ADAL" clId="{9B87D221-1DA5-4A81-9093-FDA72DCF7A7F}" dt="2022-11-04T08:29:14.036" v="588" actId="207"/>
          <ac:picMkLst>
            <pc:docMk/>
            <pc:sldMk cId="2650503156" sldId="263"/>
            <ac:picMk id="198" creationId="{D74F1BEA-8D93-492D-AA95-1BE7CB712A55}"/>
          </ac:picMkLst>
        </pc:picChg>
        <pc:picChg chg="mod">
          <ac:chgData name="Keller, Kerstin" userId="07a869ac-2c53-4e52-bede-da560d92d420" providerId="ADAL" clId="{9B87D221-1DA5-4A81-9093-FDA72DCF7A7F}" dt="2022-11-04T08:27:31.851" v="568" actId="165"/>
          <ac:picMkLst>
            <pc:docMk/>
            <pc:sldMk cId="2650503156" sldId="263"/>
            <ac:picMk id="202" creationId="{C3C08469-F444-4863-9E73-07A0E28A8F29}"/>
          </ac:picMkLst>
        </pc:picChg>
        <pc:picChg chg="mod">
          <ac:chgData name="Keller, Kerstin" userId="07a869ac-2c53-4e52-bede-da560d92d420" providerId="ADAL" clId="{9B87D221-1DA5-4A81-9093-FDA72DCF7A7F}" dt="2022-11-04T08:27:25.905" v="567" actId="165"/>
          <ac:picMkLst>
            <pc:docMk/>
            <pc:sldMk cId="2650503156" sldId="263"/>
            <ac:picMk id="214" creationId="{3B7BB4F5-9B6D-457B-8EBC-F2EB9ED3D41F}"/>
          </ac:picMkLst>
        </pc:picChg>
        <pc:picChg chg="mod topLvl">
          <ac:chgData name="Keller, Kerstin" userId="07a869ac-2c53-4e52-bede-da560d92d420" providerId="ADAL" clId="{9B87D221-1DA5-4A81-9093-FDA72DCF7A7F}" dt="2022-11-04T08:29:13.982" v="578" actId="207"/>
          <ac:picMkLst>
            <pc:docMk/>
            <pc:sldMk cId="2650503156" sldId="263"/>
            <ac:picMk id="218" creationId="{72CD8B8E-AAFB-4207-952D-52AF7795A734}"/>
          </ac:picMkLst>
        </pc:picChg>
        <pc:picChg chg="mod">
          <ac:chgData name="Keller, Kerstin" userId="07a869ac-2c53-4e52-bede-da560d92d420" providerId="ADAL" clId="{9B87D221-1DA5-4A81-9093-FDA72DCF7A7F}" dt="2022-11-04T08:28:47.166" v="576" actId="165"/>
          <ac:picMkLst>
            <pc:docMk/>
            <pc:sldMk cId="2650503156" sldId="263"/>
            <ac:picMk id="222" creationId="{AA6CE785-2FAE-4952-A04F-77765D04ECF4}"/>
          </ac:picMkLst>
        </pc:picChg>
        <pc:cxnChg chg="mod">
          <ac:chgData name="Keller, Kerstin" userId="07a869ac-2c53-4e52-bede-da560d92d420" providerId="ADAL" clId="{9B87D221-1DA5-4A81-9093-FDA72DCF7A7F}" dt="2022-11-04T08:22:54.853" v="444" actId="1076"/>
          <ac:cxnSpMkLst>
            <pc:docMk/>
            <pc:sldMk cId="2650503156" sldId="263"/>
            <ac:cxnSpMk id="76" creationId="{FA8C6946-6539-42F9-A36D-FAFCB4DF3FD2}"/>
          </ac:cxnSpMkLst>
        </pc:cxnChg>
        <pc:cxnChg chg="mod">
          <ac:chgData name="Keller, Kerstin" userId="07a869ac-2c53-4e52-bede-da560d92d420" providerId="ADAL" clId="{9B87D221-1DA5-4A81-9093-FDA72DCF7A7F}" dt="2022-11-04T08:22:54.853" v="444" actId="1076"/>
          <ac:cxnSpMkLst>
            <pc:docMk/>
            <pc:sldMk cId="2650503156" sldId="263"/>
            <ac:cxnSpMk id="79" creationId="{0EE2FA86-8336-4144-9DB3-649BC5DBE76A}"/>
          </ac:cxnSpMkLst>
        </pc:cxnChg>
        <pc:cxnChg chg="mod">
          <ac:chgData name="Keller, Kerstin" userId="07a869ac-2c53-4e52-bede-da560d92d420" providerId="ADAL" clId="{9B87D221-1DA5-4A81-9093-FDA72DCF7A7F}" dt="2022-11-04T08:22:54.853" v="444" actId="1076"/>
          <ac:cxnSpMkLst>
            <pc:docMk/>
            <pc:sldMk cId="2650503156" sldId="263"/>
            <ac:cxnSpMk id="82" creationId="{877357C3-C109-4B06-AAA4-1982F5CAAC69}"/>
          </ac:cxnSpMkLst>
        </pc:cxnChg>
        <pc:cxnChg chg="mod">
          <ac:chgData name="Keller, Kerstin" userId="07a869ac-2c53-4e52-bede-da560d92d420" providerId="ADAL" clId="{9B87D221-1DA5-4A81-9093-FDA72DCF7A7F}" dt="2022-11-04T08:22:54.853" v="444" actId="1076"/>
          <ac:cxnSpMkLst>
            <pc:docMk/>
            <pc:sldMk cId="2650503156" sldId="263"/>
            <ac:cxnSpMk id="93" creationId="{0C94FE6E-2C36-4B9F-8A46-E8E2EC89F681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99" creationId="{83D9AC35-E278-4BDB-9379-A341A9BD7398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00" creationId="{56DA9D7C-54CC-4A40-A64C-BC6FC86DAD96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04" creationId="{8E4953BF-04E4-42BC-ADAE-1F1CBEC37DA7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08" creationId="{B433CA48-D4C1-4BB8-B3B5-C2A499ADAE9E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12" creationId="{FD03C354-D5D5-47BA-A58F-7D68476062EF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20" creationId="{C6FB504F-1E94-4E38-87FA-8E9DF4CFD8DA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23" creationId="{1CCD7EBD-1BA7-4788-A604-2A728AFD35AC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24" creationId="{AA047869-76A9-474F-80BD-BB64DF84DE0E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25" creationId="{78D4C419-0574-4697-92E0-1A8817705E37}"/>
          </ac:cxnSpMkLst>
        </pc:cxnChg>
        <pc:cxnChg chg="mod">
          <ac:chgData name="Keller, Kerstin" userId="07a869ac-2c53-4e52-bede-da560d92d420" providerId="ADAL" clId="{9B87D221-1DA5-4A81-9093-FDA72DCF7A7F}" dt="2022-11-04T08:22:06.962" v="438"/>
          <ac:cxnSpMkLst>
            <pc:docMk/>
            <pc:sldMk cId="2650503156" sldId="263"/>
            <ac:cxnSpMk id="132" creationId="{F4A292EC-A859-4D64-90D8-830F5709456C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61" creationId="{751E7854-9A41-40E1-855B-5D4BB3192166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64" creationId="{CCF27D0A-3388-45D3-95E0-7C244ACB823F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67" creationId="{6E425610-4AF6-410C-953A-2867391A1E22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78" creationId="{4587CB92-E580-49C3-A8BE-2AA10B46004F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84" creationId="{EAECA03F-A5C0-4711-B0D4-D69A4DDCDCD3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85" creationId="{4B52B56C-6A26-4DD1-B186-5C1141244494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89" creationId="{2F00AACF-1D0E-4A25-B7A4-5F60E3E39ECB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93" creationId="{8B8B42F3-F6C3-4D2D-8E22-4B938E2EDD02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197" creationId="{00020C28-CD74-4492-AF12-529B70857C4D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205" creationId="{DF9EF43D-D628-45CF-90A6-C4412D219508}"/>
          </ac:cxnSpMkLst>
        </pc:cxnChg>
        <pc:cxnChg chg="mod">
          <ac:chgData name="Keller, Kerstin" userId="07a869ac-2c53-4e52-bede-da560d92d420" providerId="ADAL" clId="{9B87D221-1DA5-4A81-9093-FDA72DCF7A7F}" dt="2022-11-04T08:30:31.289" v="606" actId="208"/>
          <ac:cxnSpMkLst>
            <pc:docMk/>
            <pc:sldMk cId="2650503156" sldId="263"/>
            <ac:cxnSpMk id="208" creationId="{F948F832-4B31-4C2C-A9FE-C7B0A82B0490}"/>
          </ac:cxnSpMkLst>
        </pc:cxnChg>
        <pc:cxnChg chg="mod">
          <ac:chgData name="Keller, Kerstin" userId="07a869ac-2c53-4e52-bede-da560d92d420" providerId="ADAL" clId="{9B87D221-1DA5-4A81-9093-FDA72DCF7A7F}" dt="2022-11-04T08:30:41.144" v="607" actId="208"/>
          <ac:cxnSpMkLst>
            <pc:docMk/>
            <pc:sldMk cId="2650503156" sldId="263"/>
            <ac:cxnSpMk id="209" creationId="{40F9E4F8-AB8A-443E-BBE1-575A84EF28A5}"/>
          </ac:cxnSpMkLst>
        </pc:cxnChg>
        <pc:cxnChg chg="mod">
          <ac:chgData name="Keller, Kerstin" userId="07a869ac-2c53-4e52-bede-da560d92d420" providerId="ADAL" clId="{9B87D221-1DA5-4A81-9093-FDA72DCF7A7F}" dt="2022-11-04T08:30:58.332" v="608" actId="208"/>
          <ac:cxnSpMkLst>
            <pc:docMk/>
            <pc:sldMk cId="2650503156" sldId="263"/>
            <ac:cxnSpMk id="210" creationId="{82ED687C-A05B-4590-8BE6-756788CED149}"/>
          </ac:cxnSpMkLst>
        </pc:cxnChg>
        <pc:cxnChg chg="mod topLvl">
          <ac:chgData name="Keller, Kerstin" userId="07a869ac-2c53-4e52-bede-da560d92d420" providerId="ADAL" clId="{9B87D221-1DA5-4A81-9093-FDA72DCF7A7F}" dt="2022-11-04T08:40:43.560" v="632" actId="208"/>
          <ac:cxnSpMkLst>
            <pc:docMk/>
            <pc:sldMk cId="2650503156" sldId="263"/>
            <ac:cxnSpMk id="217" creationId="{D8F3C676-491E-482E-BC9A-4BA788AF3C7F}"/>
          </ac:cxnSpMkLst>
        </pc:cxnChg>
      </pc:sldChg>
      <pc:sldChg chg="addSp delSp modSp add mod chgLayout">
        <pc:chgData name="Keller, Kerstin" userId="07a869ac-2c53-4e52-bede-da560d92d420" providerId="ADAL" clId="{9B87D221-1DA5-4A81-9093-FDA72DCF7A7F}" dt="2022-11-04T10:32:55.080" v="1631" actId="1036"/>
        <pc:sldMkLst>
          <pc:docMk/>
          <pc:sldMk cId="502937534" sldId="264"/>
        </pc:sldMkLst>
        <pc:spChg chg="add mod">
          <ac:chgData name="Keller, Kerstin" userId="07a869ac-2c53-4e52-bede-da560d92d420" providerId="ADAL" clId="{9B87D221-1DA5-4A81-9093-FDA72DCF7A7F}" dt="2022-11-04T10:31:07.074" v="1628" actId="1038"/>
          <ac:spMkLst>
            <pc:docMk/>
            <pc:sldMk cId="502937534" sldId="264"/>
            <ac:spMk id="2" creationId="{0D9CC736-084F-437D-B21E-6987C34F22ED}"/>
          </ac:spMkLst>
        </pc:spChg>
        <pc:spChg chg="add del mod ord">
          <ac:chgData name="Keller, Kerstin" userId="07a869ac-2c53-4e52-bede-da560d92d420" providerId="ADAL" clId="{9B87D221-1DA5-4A81-9093-FDA72DCF7A7F}" dt="2022-11-04T08:54:05.310" v="840" actId="700"/>
          <ac:spMkLst>
            <pc:docMk/>
            <pc:sldMk cId="502937534" sldId="264"/>
            <ac:spMk id="5" creationId="{7EF7D1E2-6E41-4923-8545-D7FCDBE0C18E}"/>
          </ac:spMkLst>
        </pc:spChg>
        <pc:spChg chg="add del mod ord">
          <ac:chgData name="Keller, Kerstin" userId="07a869ac-2c53-4e52-bede-da560d92d420" providerId="ADAL" clId="{9B87D221-1DA5-4A81-9093-FDA72DCF7A7F}" dt="2022-11-04T08:54:05.310" v="840" actId="700"/>
          <ac:spMkLst>
            <pc:docMk/>
            <pc:sldMk cId="502937534" sldId="264"/>
            <ac:spMk id="6" creationId="{07E82502-C239-47A5-933C-D44A7C74B74D}"/>
          </ac:spMkLst>
        </pc:spChg>
        <pc:spChg chg="add del mod ord">
          <ac:chgData name="Keller, Kerstin" userId="07a869ac-2c53-4e52-bede-da560d92d420" providerId="ADAL" clId="{9B87D221-1DA5-4A81-9093-FDA72DCF7A7F}" dt="2022-11-04T08:54:05.310" v="840" actId="700"/>
          <ac:spMkLst>
            <pc:docMk/>
            <pc:sldMk cId="502937534" sldId="264"/>
            <ac:spMk id="7" creationId="{8A4FA4EC-D862-4D61-A5EE-CDD76D4CB24E}"/>
          </ac:spMkLst>
        </pc:spChg>
        <pc:spChg chg="add del mod ord">
          <ac:chgData name="Keller, Kerstin" userId="07a869ac-2c53-4e52-bede-da560d92d420" providerId="ADAL" clId="{9B87D221-1DA5-4A81-9093-FDA72DCF7A7F}" dt="2022-11-04T08:54:05.310" v="840" actId="700"/>
          <ac:spMkLst>
            <pc:docMk/>
            <pc:sldMk cId="502937534" sldId="264"/>
            <ac:spMk id="8" creationId="{343936A4-5E23-4D68-9E66-BAF98678AE1C}"/>
          </ac:spMkLst>
        </pc:spChg>
        <pc:spChg chg="mod">
          <ac:chgData name="Keller, Kerstin" userId="07a869ac-2c53-4e52-bede-da560d92d420" providerId="ADAL" clId="{9B87D221-1DA5-4A81-9093-FDA72DCF7A7F}" dt="2022-11-04T09:24:00.258" v="1082" actId="20577"/>
          <ac:spMkLst>
            <pc:docMk/>
            <pc:sldMk cId="502937534" sldId="264"/>
            <ac:spMk id="35" creationId="{9F29651A-82E8-4955-A0BF-6A65C77E080D}"/>
          </ac:spMkLst>
        </pc:spChg>
        <pc:spChg chg="add mod">
          <ac:chgData name="Keller, Kerstin" userId="07a869ac-2c53-4e52-bede-da560d92d420" providerId="ADAL" clId="{9B87D221-1DA5-4A81-9093-FDA72DCF7A7F}" dt="2022-11-04T09:12:08.338" v="1000" actId="164"/>
          <ac:spMkLst>
            <pc:docMk/>
            <pc:sldMk cId="502937534" sldId="264"/>
            <ac:spMk id="37" creationId="{73B32E03-CAC6-49C7-BD65-BFAD7F9BEF80}"/>
          </ac:spMkLst>
        </pc:spChg>
        <pc:spChg chg="mod ord">
          <ac:chgData name="Keller, Kerstin" userId="07a869ac-2c53-4e52-bede-da560d92d420" providerId="ADAL" clId="{9B87D221-1DA5-4A81-9093-FDA72DCF7A7F}" dt="2022-11-04T10:27:28.292" v="1627" actId="1037"/>
          <ac:spMkLst>
            <pc:docMk/>
            <pc:sldMk cId="502937534" sldId="264"/>
            <ac:spMk id="39" creationId="{D50C17AA-0CC0-4052-876B-CFBB9AF5CAB5}"/>
          </ac:spMkLst>
        </pc:spChg>
        <pc:spChg chg="mod">
          <ac:chgData name="Keller, Kerstin" userId="07a869ac-2c53-4e52-bede-da560d92d420" providerId="ADAL" clId="{9B87D221-1DA5-4A81-9093-FDA72DCF7A7F}" dt="2022-11-04T10:10:06.539" v="1595" actId="1036"/>
          <ac:spMkLst>
            <pc:docMk/>
            <pc:sldMk cId="502937534" sldId="264"/>
            <ac:spMk id="52" creationId="{79CBA954-116D-4D3D-BE30-EA3F10E2DE57}"/>
          </ac:spMkLst>
        </pc:spChg>
        <pc:spChg chg="del mod topLvl">
          <ac:chgData name="Keller, Kerstin" userId="07a869ac-2c53-4e52-bede-da560d92d420" providerId="ADAL" clId="{9B87D221-1DA5-4A81-9093-FDA72DCF7A7F}" dt="2022-11-04T08:46:36.107" v="671" actId="478"/>
          <ac:spMkLst>
            <pc:docMk/>
            <pc:sldMk cId="502937534" sldId="264"/>
            <ac:spMk id="100" creationId="{99E90B6A-FCCB-4D11-A51E-080BD13B811D}"/>
          </ac:spMkLst>
        </pc:spChg>
        <pc:spChg chg="add del mod">
          <ac:chgData name="Keller, Kerstin" userId="07a869ac-2c53-4e52-bede-da560d92d420" providerId="ADAL" clId="{9B87D221-1DA5-4A81-9093-FDA72DCF7A7F}" dt="2022-11-04T08:56:25.315" v="870"/>
          <ac:spMkLst>
            <pc:docMk/>
            <pc:sldMk cId="502937534" sldId="264"/>
            <ac:spMk id="106" creationId="{C7ABC702-D855-4ECB-92E2-8FD3B7778EF3}"/>
          </ac:spMkLst>
        </pc:spChg>
        <pc:spChg chg="add mod">
          <ac:chgData name="Keller, Kerstin" userId="07a869ac-2c53-4e52-bede-da560d92d420" providerId="ADAL" clId="{9B87D221-1DA5-4A81-9093-FDA72DCF7A7F}" dt="2022-11-04T09:11:52.874" v="997" actId="164"/>
          <ac:spMkLst>
            <pc:docMk/>
            <pc:sldMk cId="502937534" sldId="264"/>
            <ac:spMk id="110" creationId="{D39C1E69-6A24-4ED8-837A-81A7DF3DEA64}"/>
          </ac:spMkLst>
        </pc:spChg>
        <pc:spChg chg="add mod topLvl">
          <ac:chgData name="Keller, Kerstin" userId="07a869ac-2c53-4e52-bede-da560d92d420" providerId="ADAL" clId="{9B87D221-1DA5-4A81-9093-FDA72DCF7A7F}" dt="2022-11-04T09:31:51.883" v="1152" actId="164"/>
          <ac:spMkLst>
            <pc:docMk/>
            <pc:sldMk cId="502937534" sldId="264"/>
            <ac:spMk id="113" creationId="{D163A100-955C-4B24-A8EA-BACC9FD66BAB}"/>
          </ac:spMkLst>
        </pc:spChg>
        <pc:spChg chg="add mod">
          <ac:chgData name="Keller, Kerstin" userId="07a869ac-2c53-4e52-bede-da560d92d420" providerId="ADAL" clId="{9B87D221-1DA5-4A81-9093-FDA72DCF7A7F}" dt="2022-11-04T09:13:09.230" v="1015" actId="164"/>
          <ac:spMkLst>
            <pc:docMk/>
            <pc:sldMk cId="502937534" sldId="264"/>
            <ac:spMk id="115" creationId="{9C0EA822-1F2C-4E4C-B4B1-E7B1BE6C7560}"/>
          </ac:spMkLst>
        </pc:spChg>
        <pc:spChg chg="mod">
          <ac:chgData name="Keller, Kerstin" userId="07a869ac-2c53-4e52-bede-da560d92d420" providerId="ADAL" clId="{9B87D221-1DA5-4A81-9093-FDA72DCF7A7F}" dt="2022-11-04T09:13:32.721" v="1018"/>
          <ac:spMkLst>
            <pc:docMk/>
            <pc:sldMk cId="502937534" sldId="264"/>
            <ac:spMk id="118" creationId="{F124A0FB-332A-4C8B-862B-42E02C8E0B8D}"/>
          </ac:spMkLst>
        </pc:spChg>
        <pc:spChg chg="mod">
          <ac:chgData name="Keller, Kerstin" userId="07a869ac-2c53-4e52-bede-da560d92d420" providerId="ADAL" clId="{9B87D221-1DA5-4A81-9093-FDA72DCF7A7F}" dt="2022-11-04T09:13:38.018" v="1020"/>
          <ac:spMkLst>
            <pc:docMk/>
            <pc:sldMk cId="502937534" sldId="264"/>
            <ac:spMk id="121" creationId="{4E3166CB-0BC4-460F-917A-C73C3BFAFA7D}"/>
          </ac:spMkLst>
        </pc:spChg>
        <pc:spChg chg="add del mod">
          <ac:chgData name="Keller, Kerstin" userId="07a869ac-2c53-4e52-bede-da560d92d420" providerId="ADAL" clId="{9B87D221-1DA5-4A81-9093-FDA72DCF7A7F}" dt="2022-11-04T09:17:45.136" v="1043" actId="478"/>
          <ac:spMkLst>
            <pc:docMk/>
            <pc:sldMk cId="502937534" sldId="264"/>
            <ac:spMk id="123" creationId="{C70D1478-D641-4B8F-B20C-222AA2FD7706}"/>
          </ac:spMkLst>
        </pc:spChg>
        <pc:spChg chg="mod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26" creationId="{DA51610B-B676-439D-949F-E7E6019E01F2}"/>
          </ac:spMkLst>
        </pc:spChg>
        <pc:spChg chg="mod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29" creationId="{9A1077E6-AE2E-44A1-BB0B-6FB50FEAA62A}"/>
          </ac:spMkLst>
        </pc:spChg>
        <pc:spChg chg="mod topLvl">
          <ac:chgData name="Keller, Kerstin" userId="07a869ac-2c53-4e52-bede-da560d92d420" providerId="ADAL" clId="{9B87D221-1DA5-4A81-9093-FDA72DCF7A7F}" dt="2022-11-04T09:18:45.337" v="1058" actId="164"/>
          <ac:spMkLst>
            <pc:docMk/>
            <pc:sldMk cId="502937534" sldId="264"/>
            <ac:spMk id="132" creationId="{ACB1F122-D332-458D-96B8-E238B43F7533}"/>
          </ac:spMkLst>
        </pc:spChg>
        <pc:spChg chg="del">
          <ac:chgData name="Keller, Kerstin" userId="07a869ac-2c53-4e52-bede-da560d92d420" providerId="ADAL" clId="{9B87D221-1DA5-4A81-9093-FDA72DCF7A7F}" dt="2022-11-04T08:59:16.289" v="927" actId="478"/>
          <ac:spMkLst>
            <pc:docMk/>
            <pc:sldMk cId="502937534" sldId="264"/>
            <ac:spMk id="142" creationId="{B782120E-DA09-426E-8E63-C5B7A37CEA50}"/>
          </ac:spMkLst>
        </pc:spChg>
        <pc:spChg chg="mod topLvl">
          <ac:chgData name="Keller, Kerstin" userId="07a869ac-2c53-4e52-bede-da560d92d420" providerId="ADAL" clId="{9B87D221-1DA5-4A81-9093-FDA72DCF7A7F}" dt="2022-11-04T09:57:10.950" v="1510" actId="113"/>
          <ac:spMkLst>
            <pc:docMk/>
            <pc:sldMk cId="502937534" sldId="264"/>
            <ac:spMk id="151" creationId="{BD9C19C7-B502-40BB-82AF-D2B68DD75502}"/>
          </ac:spMkLst>
        </pc:spChg>
        <pc:spChg chg="mod topLvl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52" creationId="{103D6B39-BE59-44BA-BA17-7E306332BE03}"/>
          </ac:spMkLst>
        </pc:spChg>
        <pc:spChg chg="mod topLvl">
          <ac:chgData name="Keller, Kerstin" userId="07a869ac-2c53-4e52-bede-da560d92d420" providerId="ADAL" clId="{9B87D221-1DA5-4A81-9093-FDA72DCF7A7F}" dt="2022-11-04T09:57:05.681" v="1509" actId="113"/>
          <ac:spMkLst>
            <pc:docMk/>
            <pc:sldMk cId="502937534" sldId="264"/>
            <ac:spMk id="153" creationId="{38C871E2-F641-446C-91D6-7AE0281CECF8}"/>
          </ac:spMkLst>
        </pc:spChg>
        <pc:spChg chg="mod topLvl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54" creationId="{A1CE80E4-938B-409F-91EA-B2A7AC764C79}"/>
          </ac:spMkLst>
        </pc:spChg>
        <pc:spChg chg="mod topLvl">
          <ac:chgData name="Keller, Kerstin" userId="07a869ac-2c53-4e52-bede-da560d92d420" providerId="ADAL" clId="{9B87D221-1DA5-4A81-9093-FDA72DCF7A7F}" dt="2022-11-04T09:57:03.513" v="1508" actId="113"/>
          <ac:spMkLst>
            <pc:docMk/>
            <pc:sldMk cId="502937534" sldId="264"/>
            <ac:spMk id="156" creationId="{CFB11BE5-195F-49BD-A52A-28567F8B8F1A}"/>
          </ac:spMkLst>
        </pc:spChg>
        <pc:spChg chg="mod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58" creationId="{A6A5C86E-52A8-4222-AA72-135D09EA3DAB}"/>
          </ac:spMkLst>
        </pc:spChg>
        <pc:spChg chg="mod topLvl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162" creationId="{79BAEFD3-09BD-4578-90A0-C47C256276B1}"/>
          </ac:spMkLst>
        </pc:spChg>
        <pc:spChg chg="mod topLvl">
          <ac:chgData name="Keller, Kerstin" userId="07a869ac-2c53-4e52-bede-da560d92d420" providerId="ADAL" clId="{9B87D221-1DA5-4A81-9093-FDA72DCF7A7F}" dt="2022-11-04T09:56:53.829" v="1506" actId="113"/>
          <ac:spMkLst>
            <pc:docMk/>
            <pc:sldMk cId="502937534" sldId="264"/>
            <ac:spMk id="170" creationId="{F000307E-1219-49AC-9CF7-CF2BAB0B17A8}"/>
          </ac:spMkLst>
        </pc:spChg>
        <pc:spChg chg="mod">
          <ac:chgData name="Keller, Kerstin" userId="07a869ac-2c53-4e52-bede-da560d92d420" providerId="ADAL" clId="{9B87D221-1DA5-4A81-9093-FDA72DCF7A7F}" dt="2022-11-04T09:17:27.766" v="1040" actId="165"/>
          <ac:spMkLst>
            <pc:docMk/>
            <pc:sldMk cId="502937534" sldId="264"/>
            <ac:spMk id="171" creationId="{D896836B-1E72-4951-92FB-51B62C118B3B}"/>
          </ac:spMkLst>
        </pc:spChg>
        <pc:spChg chg="del mod topLvl">
          <ac:chgData name="Keller, Kerstin" userId="07a869ac-2c53-4e52-bede-da560d92d420" providerId="ADAL" clId="{9B87D221-1DA5-4A81-9093-FDA72DCF7A7F}" dt="2022-11-04T09:28:52.683" v="1124" actId="478"/>
          <ac:spMkLst>
            <pc:docMk/>
            <pc:sldMk cId="502937534" sldId="264"/>
            <ac:spMk id="180" creationId="{A1F00BE8-BB15-429F-984C-EA893A358238}"/>
          </ac:spMkLst>
        </pc:spChg>
        <pc:spChg chg="mod topLvl">
          <ac:chgData name="Keller, Kerstin" userId="07a869ac-2c53-4e52-bede-da560d92d420" providerId="ADAL" clId="{9B87D221-1DA5-4A81-9093-FDA72DCF7A7F}" dt="2022-11-04T09:56:38.668" v="1502" actId="113"/>
          <ac:spMkLst>
            <pc:docMk/>
            <pc:sldMk cId="502937534" sldId="264"/>
            <ac:spMk id="182" creationId="{D38A9766-B593-43A9-9E08-98BDB79C4F6F}"/>
          </ac:spMkLst>
        </pc:spChg>
        <pc:spChg chg="mod">
          <ac:chgData name="Keller, Kerstin" userId="07a869ac-2c53-4e52-bede-da560d92d420" providerId="ADAL" clId="{9B87D221-1DA5-4A81-9093-FDA72DCF7A7F}" dt="2022-11-04T09:56:44.002" v="1503" actId="113"/>
          <ac:spMkLst>
            <pc:docMk/>
            <pc:sldMk cId="502937534" sldId="264"/>
            <ac:spMk id="191" creationId="{912D0B49-28D9-44E1-A3A3-51BB4A82568A}"/>
          </ac:spMkLst>
        </pc:spChg>
        <pc:spChg chg="mod topLvl">
          <ac:chgData name="Keller, Kerstin" userId="07a869ac-2c53-4e52-bede-da560d92d420" providerId="ADAL" clId="{9B87D221-1DA5-4A81-9093-FDA72DCF7A7F}" dt="2022-11-04T09:56:50.466" v="1505" actId="113"/>
          <ac:spMkLst>
            <pc:docMk/>
            <pc:sldMk cId="502937534" sldId="264"/>
            <ac:spMk id="200" creationId="{510DAB01-88FB-4100-A5F6-2F8E4DFA08DA}"/>
          </ac:spMkLst>
        </pc:spChg>
        <pc:spChg chg="mod topLvl">
          <ac:chgData name="Keller, Kerstin" userId="07a869ac-2c53-4e52-bede-da560d92d420" providerId="ADAL" clId="{9B87D221-1DA5-4A81-9093-FDA72DCF7A7F}" dt="2022-11-04T09:59:25.138" v="1517" actId="692"/>
          <ac:spMkLst>
            <pc:docMk/>
            <pc:sldMk cId="502937534" sldId="264"/>
            <ac:spMk id="201" creationId="{6B2D70BA-EF40-4FD6-87AB-073128169AE5}"/>
          </ac:spMkLst>
        </pc:spChg>
        <pc:spChg chg="add mod">
          <ac:chgData name="Keller, Kerstin" userId="07a869ac-2c53-4e52-bede-da560d92d420" providerId="ADAL" clId="{9B87D221-1DA5-4A81-9093-FDA72DCF7A7F}" dt="2022-11-04T09:56:46.957" v="1504" actId="113"/>
          <ac:spMkLst>
            <pc:docMk/>
            <pc:sldMk cId="502937534" sldId="264"/>
            <ac:spMk id="249" creationId="{84676917-B9C7-4159-8F7F-6E0DCCC8CC81}"/>
          </ac:spMkLst>
        </pc:spChg>
        <pc:grpChg chg="add del mod">
          <ac:chgData name="Keller, Kerstin" userId="07a869ac-2c53-4e52-bede-da560d92d420" providerId="ADAL" clId="{9B87D221-1DA5-4A81-9093-FDA72DCF7A7F}" dt="2022-11-04T10:27:11.430" v="1625" actId="1035"/>
          <ac:grpSpMkLst>
            <pc:docMk/>
            <pc:sldMk cId="502937534" sldId="264"/>
            <ac:grpSpMk id="4" creationId="{C8B38332-89C1-4A58-B953-54652FA6A129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38" creationId="{5F3E1FDB-1463-4E6A-9A5A-9E15E8623AAA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40" creationId="{56A88D51-165E-41D6-916C-D84BD5CB2418}"/>
          </ac:grpSpMkLst>
        </pc:grpChg>
        <pc:grpChg chg="add del mod">
          <ac:chgData name="Keller, Kerstin" userId="07a869ac-2c53-4e52-bede-da560d92d420" providerId="ADAL" clId="{9B87D221-1DA5-4A81-9093-FDA72DCF7A7F}" dt="2022-11-04T09:31:21.190" v="1146" actId="478"/>
          <ac:grpSpMkLst>
            <pc:docMk/>
            <pc:sldMk cId="502937534" sldId="264"/>
            <ac:grpSpMk id="41" creationId="{88D18C93-550E-461C-8C56-F67DBF635B9D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42" creationId="{99C195A1-7AEE-48C7-B8B0-C5B19593D472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43" creationId="{4A5C2E5F-7B8D-4166-8E9A-AAFF3A59D35F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44" creationId="{706038F6-CB7C-4275-B6BB-EF2590D08C5F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63" creationId="{ED31AAC0-AF01-4F4F-BD35-D60F7EEDA7B4}"/>
          </ac:grpSpMkLst>
        </pc:grpChg>
        <pc:grpChg chg="add del mod">
          <ac:chgData name="Keller, Kerstin" userId="07a869ac-2c53-4e52-bede-da560d92d420" providerId="ADAL" clId="{9B87D221-1DA5-4A81-9093-FDA72DCF7A7F}" dt="2022-11-04T08:46:33.560" v="670" actId="165"/>
          <ac:grpSpMkLst>
            <pc:docMk/>
            <pc:sldMk cId="502937534" sldId="264"/>
            <ac:grpSpMk id="98" creationId="{6728BE46-36E8-4832-B27C-4654313A4527}"/>
          </ac:grpSpMkLst>
        </pc:grpChg>
        <pc:grpChg chg="add del mod">
          <ac:chgData name="Keller, Kerstin" userId="07a869ac-2c53-4e52-bede-da560d92d420" providerId="ADAL" clId="{9B87D221-1DA5-4A81-9093-FDA72DCF7A7F}" dt="2022-11-04T09:32:42.479" v="1166" actId="478"/>
          <ac:grpSpMkLst>
            <pc:docMk/>
            <pc:sldMk cId="502937534" sldId="264"/>
            <ac:grpSpMk id="117" creationId="{FE86FAAF-8818-4848-A12A-8F469CA83D94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20" creationId="{957B53AD-4467-4133-9C67-E48127401B0F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25" creationId="{235111B7-9418-4890-96AD-EF58B97550B9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28" creationId="{310EA878-70D9-4382-AE9F-706035BA2607}"/>
          </ac:grpSpMkLst>
        </pc:grpChg>
        <pc:grpChg chg="add del mod">
          <ac:chgData name="Keller, Kerstin" userId="07a869ac-2c53-4e52-bede-da560d92d420" providerId="ADAL" clId="{9B87D221-1DA5-4A81-9093-FDA72DCF7A7F}" dt="2022-11-04T09:18:16.503" v="1052" actId="165"/>
          <ac:grpSpMkLst>
            <pc:docMk/>
            <pc:sldMk cId="502937534" sldId="264"/>
            <ac:grpSpMk id="131" creationId="{E862E47A-EA52-4E5F-BDB4-B7B2840D0D2C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38" creationId="{259E5DD8-1117-44E9-B28E-CFAA5ED224C8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41" creationId="{D29820EC-D917-4328-9FFD-B265C2B92CF6}"/>
          </ac:grpSpMkLst>
        </pc:grpChg>
        <pc:grpChg chg="del">
          <ac:chgData name="Keller, Kerstin" userId="07a869ac-2c53-4e52-bede-da560d92d420" providerId="ADAL" clId="{9B87D221-1DA5-4A81-9093-FDA72DCF7A7F}" dt="2022-11-04T09:04:24.077" v="952" actId="165"/>
          <ac:grpSpMkLst>
            <pc:docMk/>
            <pc:sldMk cId="502937534" sldId="264"/>
            <ac:grpSpMk id="145" creationId="{6CF830D9-F545-40FE-AE41-DA93E812F7E8}"/>
          </ac:grpSpMkLst>
        </pc:grpChg>
        <pc:grpChg chg="del mod topLvl">
          <ac:chgData name="Keller, Kerstin" userId="07a869ac-2c53-4e52-bede-da560d92d420" providerId="ADAL" clId="{9B87D221-1DA5-4A81-9093-FDA72DCF7A7F}" dt="2022-11-04T09:33:25.383" v="1172" actId="165"/>
          <ac:grpSpMkLst>
            <pc:docMk/>
            <pc:sldMk cId="502937534" sldId="264"/>
            <ac:grpSpMk id="146" creationId="{527C9C2B-1A13-473B-8BE8-D61FBCB5250B}"/>
          </ac:grpSpMkLst>
        </pc:grpChg>
        <pc:grpChg chg="del mod topLvl">
          <ac:chgData name="Keller, Kerstin" userId="07a869ac-2c53-4e52-bede-da560d92d420" providerId="ADAL" clId="{9B87D221-1DA5-4A81-9093-FDA72DCF7A7F}" dt="2022-11-04T09:34:26.854" v="1184" actId="165"/>
          <ac:grpSpMkLst>
            <pc:docMk/>
            <pc:sldMk cId="502937534" sldId="264"/>
            <ac:grpSpMk id="147" creationId="{2FCED280-73E2-44CC-B6C5-20DBCFEBB5B9}"/>
          </ac:grpSpMkLst>
        </pc:grpChg>
        <pc:grpChg chg="del mod topLvl">
          <ac:chgData name="Keller, Kerstin" userId="07a869ac-2c53-4e52-bede-da560d92d420" providerId="ADAL" clId="{9B87D221-1DA5-4A81-9093-FDA72DCF7A7F}" dt="2022-11-04T09:34:52.471" v="1194" actId="165"/>
          <ac:grpSpMkLst>
            <pc:docMk/>
            <pc:sldMk cId="502937534" sldId="264"/>
            <ac:grpSpMk id="148" creationId="{95FB53B8-1735-40D6-9CAC-E5CEC6B89260}"/>
          </ac:grpSpMkLst>
        </pc:grpChg>
        <pc:grpChg chg="del mod topLvl">
          <ac:chgData name="Keller, Kerstin" userId="07a869ac-2c53-4e52-bede-da560d92d420" providerId="ADAL" clId="{9B87D221-1DA5-4A81-9093-FDA72DCF7A7F}" dt="2022-11-04T09:35:05.426" v="1195" actId="165"/>
          <ac:grpSpMkLst>
            <pc:docMk/>
            <pc:sldMk cId="502937534" sldId="264"/>
            <ac:grpSpMk id="149" creationId="{0D66C270-FD40-4CFE-B08B-615DC6A0BA79}"/>
          </ac:grpSpMkLst>
        </pc:grpChg>
        <pc:grpChg chg="mod topLvl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57" creationId="{B3E44FF3-EF3B-4F72-AE3A-261BAF34D180}"/>
          </ac:grpSpMkLst>
        </pc:grpChg>
        <pc:grpChg chg="add del mod">
          <ac:chgData name="Keller, Kerstin" userId="07a869ac-2c53-4e52-bede-da560d92d420" providerId="ADAL" clId="{9B87D221-1DA5-4A81-9093-FDA72DCF7A7F}" dt="2022-11-04T09:26:35.895" v="1110" actId="165"/>
          <ac:grpSpMkLst>
            <pc:docMk/>
            <pc:sldMk cId="502937534" sldId="264"/>
            <ac:grpSpMk id="160" creationId="{022CA50D-8FEA-4E82-8AAB-20B2DEC2D8C3}"/>
          </ac:grpSpMkLst>
        </pc:grpChg>
        <pc:grpChg chg="del">
          <ac:chgData name="Keller, Kerstin" userId="07a869ac-2c53-4e52-bede-da560d92d420" providerId="ADAL" clId="{9B87D221-1DA5-4A81-9093-FDA72DCF7A7F}" dt="2022-11-04T09:17:27.766" v="1040" actId="165"/>
          <ac:grpSpMkLst>
            <pc:docMk/>
            <pc:sldMk cId="502937534" sldId="264"/>
            <ac:grpSpMk id="166" creationId="{02142F18-C2F4-4F2C-818C-74796BAF2086}"/>
          </ac:grpSpMkLst>
        </pc:grpChg>
        <pc:grpChg chg="del mod topLvl">
          <ac:chgData name="Keller, Kerstin" userId="07a869ac-2c53-4e52-bede-da560d92d420" providerId="ADAL" clId="{9B87D221-1DA5-4A81-9093-FDA72DCF7A7F}" dt="2022-11-04T09:17:30.314" v="1041" actId="478"/>
          <ac:grpSpMkLst>
            <pc:docMk/>
            <pc:sldMk cId="502937534" sldId="264"/>
            <ac:grpSpMk id="169" creationId="{08866954-FC1C-402D-B97B-6AE7BA4F4A34}"/>
          </ac:grpSpMkLst>
        </pc:grpChg>
        <pc:grpChg chg="del mod">
          <ac:chgData name="Keller, Kerstin" userId="07a869ac-2c53-4e52-bede-da560d92d420" providerId="ADAL" clId="{9B87D221-1DA5-4A81-9093-FDA72DCF7A7F}" dt="2022-11-04T09:26:46.225" v="1112" actId="165"/>
          <ac:grpSpMkLst>
            <pc:docMk/>
            <pc:sldMk cId="502937534" sldId="264"/>
            <ac:grpSpMk id="179" creationId="{B4B4BB55-2B3F-4E15-8A63-BD327D34B35C}"/>
          </ac:grpSpMkLst>
        </pc:grpChg>
        <pc:grpChg chg="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186" creationId="{E00B3072-77F9-42CB-95B2-66B63FE8079E}"/>
          </ac:grpSpMkLst>
        </pc:grpChg>
        <pc:grpChg chg="del">
          <ac:chgData name="Keller, Kerstin" userId="07a869ac-2c53-4e52-bede-da560d92d420" providerId="ADAL" clId="{9B87D221-1DA5-4A81-9093-FDA72DCF7A7F}" dt="2022-11-04T09:13:53.342" v="1022" actId="165"/>
          <ac:grpSpMkLst>
            <pc:docMk/>
            <pc:sldMk cId="502937534" sldId="264"/>
            <ac:grpSpMk id="196" creationId="{46D6FFA7-485D-48B1-919D-95E3105748E9}"/>
          </ac:grpSpMkLst>
        </pc:grpChg>
        <pc:grpChg chg="del mod topLvl">
          <ac:chgData name="Keller, Kerstin" userId="07a869ac-2c53-4e52-bede-da560d92d420" providerId="ADAL" clId="{9B87D221-1DA5-4A81-9093-FDA72DCF7A7F}" dt="2022-11-04T09:14:22.828" v="1027" actId="165"/>
          <ac:grpSpMkLst>
            <pc:docMk/>
            <pc:sldMk cId="502937534" sldId="264"/>
            <ac:grpSpMk id="199" creationId="{10713387-BD32-40AB-AC3E-13FB4172B198}"/>
          </ac:grpSpMkLst>
        </pc:grpChg>
        <pc:grpChg chg="del">
          <ac:chgData name="Keller, Kerstin" userId="07a869ac-2c53-4e52-bede-da560d92d420" providerId="ADAL" clId="{9B87D221-1DA5-4A81-9093-FDA72DCF7A7F}" dt="2022-11-04T09:14:37.459" v="1030" actId="478"/>
          <ac:grpSpMkLst>
            <pc:docMk/>
            <pc:sldMk cId="502937534" sldId="264"/>
            <ac:grpSpMk id="204" creationId="{3DED22F5-B6B9-45FB-B74F-A9FA0BEB6324}"/>
          </ac:grpSpMkLst>
        </pc:grpChg>
        <pc:grpChg chg="mod ord">
          <ac:chgData name="Keller, Kerstin" userId="07a869ac-2c53-4e52-bede-da560d92d420" providerId="ADAL" clId="{9B87D221-1DA5-4A81-9093-FDA72DCF7A7F}" dt="2022-11-04T09:31:51.883" v="1152" actId="164"/>
          <ac:grpSpMkLst>
            <pc:docMk/>
            <pc:sldMk cId="502937534" sldId="264"/>
            <ac:grpSpMk id="206" creationId="{68B887B4-2698-4486-A624-8834A560141C}"/>
          </ac:grpSpMkLst>
        </pc:grpChg>
        <pc:grpChg chg="del">
          <ac:chgData name="Keller, Kerstin" userId="07a869ac-2c53-4e52-bede-da560d92d420" providerId="ADAL" clId="{9B87D221-1DA5-4A81-9093-FDA72DCF7A7F}" dt="2022-11-04T09:14:41.442" v="1031" actId="478"/>
          <ac:grpSpMkLst>
            <pc:docMk/>
            <pc:sldMk cId="502937534" sldId="264"/>
            <ac:grpSpMk id="216" creationId="{7CB2D6D0-D795-4C92-BCCC-33F40467EC87}"/>
          </ac:grpSpMkLst>
        </pc:grpChg>
        <pc:grpChg chg="add mod">
          <ac:chgData name="Keller, Kerstin" userId="07a869ac-2c53-4e52-bede-da560d92d420" providerId="ADAL" clId="{9B87D221-1DA5-4A81-9093-FDA72DCF7A7F}" dt="2022-11-04T09:49:59.914" v="1449" actId="164"/>
          <ac:grpSpMkLst>
            <pc:docMk/>
            <pc:sldMk cId="502937534" sldId="264"/>
            <ac:grpSpMk id="223" creationId="{EFB2CA53-6934-4E33-94A7-55A64004CC21}"/>
          </ac:grpSpMkLst>
        </pc:grpChg>
        <pc:grpChg chg="add mod">
          <ac:chgData name="Keller, Kerstin" userId="07a869ac-2c53-4e52-bede-da560d92d420" providerId="ADAL" clId="{9B87D221-1DA5-4A81-9093-FDA72DCF7A7F}" dt="2022-11-04T09:50:20.300" v="1459" actId="1036"/>
          <ac:grpSpMkLst>
            <pc:docMk/>
            <pc:sldMk cId="502937534" sldId="264"/>
            <ac:grpSpMk id="250" creationId="{E13EB975-57B3-464C-A659-96B3F3D82BDB}"/>
          </ac:grpSpMkLst>
        </pc:grpChg>
        <pc:picChg chg="mod">
          <ac:chgData name="Keller, Kerstin" userId="07a869ac-2c53-4e52-bede-da560d92d420" providerId="ADAL" clId="{9B87D221-1DA5-4A81-9093-FDA72DCF7A7F}" dt="2022-11-04T10:10:06.539" v="1595" actId="1036"/>
          <ac:picMkLst>
            <pc:docMk/>
            <pc:sldMk cId="502937534" sldId="264"/>
            <ac:picMk id="3" creationId="{C5D16728-7D4A-4128-B382-F7539D41E0C3}"/>
          </ac:picMkLst>
        </pc:picChg>
        <pc:picChg chg="add del mod">
          <ac:chgData name="Keller, Kerstin" userId="07a869ac-2c53-4e52-bede-da560d92d420" providerId="ADAL" clId="{9B87D221-1DA5-4A81-9093-FDA72DCF7A7F}" dt="2022-11-04T09:27:25.303" v="1117" actId="478"/>
          <ac:picMkLst>
            <pc:docMk/>
            <pc:sldMk cId="502937534" sldId="264"/>
            <ac:picMk id="46" creationId="{CDFA32B6-AFA3-43CE-8F45-6E32FB5DA865}"/>
          </ac:picMkLst>
        </pc:picChg>
        <pc:picChg chg="add mod">
          <ac:chgData name="Keller, Kerstin" userId="07a869ac-2c53-4e52-bede-da560d92d420" providerId="ADAL" clId="{9B87D221-1DA5-4A81-9093-FDA72DCF7A7F}" dt="2022-11-04T10:32:55.080" v="1631" actId="1036"/>
          <ac:picMkLst>
            <pc:docMk/>
            <pc:sldMk cId="502937534" sldId="264"/>
            <ac:picMk id="57" creationId="{387837E2-DA7A-4A9A-8A15-ECB78E9A3B5C}"/>
          </ac:picMkLst>
        </pc:picChg>
        <pc:picChg chg="del mod topLvl">
          <ac:chgData name="Keller, Kerstin" userId="07a869ac-2c53-4e52-bede-da560d92d420" providerId="ADAL" clId="{9B87D221-1DA5-4A81-9093-FDA72DCF7A7F}" dt="2022-11-04T08:58:30.731" v="916" actId="478"/>
          <ac:picMkLst>
            <pc:docMk/>
            <pc:sldMk cId="502937534" sldId="264"/>
            <ac:picMk id="99" creationId="{20E09E9D-3112-4D91-A50A-483CD2FFC0D7}"/>
          </ac:picMkLst>
        </pc:picChg>
        <pc:picChg chg="mod">
          <ac:chgData name="Keller, Kerstin" userId="07a869ac-2c53-4e52-bede-da560d92d420" providerId="ADAL" clId="{9B87D221-1DA5-4A81-9093-FDA72DCF7A7F}" dt="2022-11-04T09:13:32.721" v="1018"/>
          <ac:picMkLst>
            <pc:docMk/>
            <pc:sldMk cId="502937534" sldId="264"/>
            <ac:picMk id="119" creationId="{87829C5E-08FB-406C-87A9-3080613D129F}"/>
          </ac:picMkLst>
        </pc:picChg>
        <pc:picChg chg="mod">
          <ac:chgData name="Keller, Kerstin" userId="07a869ac-2c53-4e52-bede-da560d92d420" providerId="ADAL" clId="{9B87D221-1DA5-4A81-9093-FDA72DCF7A7F}" dt="2022-11-04T09:13:38.018" v="1020"/>
          <ac:picMkLst>
            <pc:docMk/>
            <pc:sldMk cId="502937534" sldId="264"/>
            <ac:picMk id="122" creationId="{4B4630C4-2D09-4914-A0B1-086B9E1E1188}"/>
          </ac:picMkLst>
        </pc:picChg>
        <pc:picChg chg="mod">
          <ac:chgData name="Keller, Kerstin" userId="07a869ac-2c53-4e52-bede-da560d92d420" providerId="ADAL" clId="{9B87D221-1DA5-4A81-9093-FDA72DCF7A7F}" dt="2022-11-04T09:17:53.956" v="1045"/>
          <ac:picMkLst>
            <pc:docMk/>
            <pc:sldMk cId="502937534" sldId="264"/>
            <ac:picMk id="127" creationId="{9657BF38-0B2E-4FFF-85CC-70B31A8FD27A}"/>
          </ac:picMkLst>
        </pc:picChg>
        <pc:picChg chg="mod">
          <ac:chgData name="Keller, Kerstin" userId="07a869ac-2c53-4e52-bede-da560d92d420" providerId="ADAL" clId="{9B87D221-1DA5-4A81-9093-FDA72DCF7A7F}" dt="2022-11-04T09:18:01.762" v="1047"/>
          <ac:picMkLst>
            <pc:docMk/>
            <pc:sldMk cId="502937534" sldId="264"/>
            <ac:picMk id="130" creationId="{62700964-8C22-49F0-83DE-44636DEC7800}"/>
          </ac:picMkLst>
        </pc:picChg>
        <pc:picChg chg="del mod topLvl">
          <ac:chgData name="Keller, Kerstin" userId="07a869ac-2c53-4e52-bede-da560d92d420" providerId="ADAL" clId="{9B87D221-1DA5-4A81-9093-FDA72DCF7A7F}" dt="2022-11-04T09:18:18.539" v="1053" actId="478"/>
          <ac:picMkLst>
            <pc:docMk/>
            <pc:sldMk cId="502937534" sldId="264"/>
            <ac:picMk id="133" creationId="{A9FF59F1-2BF8-4AD6-BF19-C2404C73CBE4}"/>
          </ac:picMkLst>
        </pc:picChg>
        <pc:picChg chg="mod topLvl">
          <ac:chgData name="Keller, Kerstin" userId="07a869ac-2c53-4e52-bede-da560d92d420" providerId="ADAL" clId="{9B87D221-1DA5-4A81-9093-FDA72DCF7A7F}" dt="2022-11-04T09:35:14.303" v="1196" actId="164"/>
          <ac:picMkLst>
            <pc:docMk/>
            <pc:sldMk cId="502937534" sldId="264"/>
            <ac:picMk id="150" creationId="{37E5D57B-63D2-4D98-9EFD-75DF89B3BD4A}"/>
          </ac:picMkLst>
        </pc:picChg>
        <pc:picChg chg="mod topLvl">
          <ac:chgData name="Keller, Kerstin" userId="07a869ac-2c53-4e52-bede-da560d92d420" providerId="ADAL" clId="{9B87D221-1DA5-4A81-9093-FDA72DCF7A7F}" dt="2022-11-04T09:35:19.866" v="1197" actId="164"/>
          <ac:picMkLst>
            <pc:docMk/>
            <pc:sldMk cId="502937534" sldId="264"/>
            <ac:picMk id="155" creationId="{A76FE22E-59CE-448B-BCB7-38EE0D21C02D}"/>
          </ac:picMkLst>
        </pc:picChg>
        <pc:picChg chg="mod">
          <ac:chgData name="Keller, Kerstin" userId="07a869ac-2c53-4e52-bede-da560d92d420" providerId="ADAL" clId="{9B87D221-1DA5-4A81-9093-FDA72DCF7A7F}" dt="2022-11-04T09:33:25.383" v="1172" actId="165"/>
          <ac:picMkLst>
            <pc:docMk/>
            <pc:sldMk cId="502937534" sldId="264"/>
            <ac:picMk id="159" creationId="{CDA6A885-8F33-462B-9950-4BDAAAF215C0}"/>
          </ac:picMkLst>
        </pc:picChg>
        <pc:picChg chg="del mod topLvl">
          <ac:chgData name="Keller, Kerstin" userId="07a869ac-2c53-4e52-bede-da560d92d420" providerId="ADAL" clId="{9B87D221-1DA5-4A81-9093-FDA72DCF7A7F}" dt="2022-11-04T09:26:38.382" v="1111" actId="478"/>
          <ac:picMkLst>
            <pc:docMk/>
            <pc:sldMk cId="502937534" sldId="264"/>
            <ac:picMk id="163" creationId="{0D36554D-42D5-4CE2-BA03-7E1027BED9A4}"/>
          </ac:picMkLst>
        </pc:picChg>
        <pc:picChg chg="mod ord">
          <ac:chgData name="Keller, Kerstin" userId="07a869ac-2c53-4e52-bede-da560d92d420" providerId="ADAL" clId="{9B87D221-1DA5-4A81-9093-FDA72DCF7A7F}" dt="2022-11-04T09:11:52.874" v="997" actId="164"/>
          <ac:picMkLst>
            <pc:docMk/>
            <pc:sldMk cId="502937534" sldId="264"/>
            <ac:picMk id="165" creationId="{2626B473-3FB2-4AB1-A5C0-DC0A23E5E46D}"/>
          </ac:picMkLst>
        </pc:picChg>
        <pc:picChg chg="mod ord">
          <ac:chgData name="Keller, Kerstin" userId="07a869ac-2c53-4e52-bede-da560d92d420" providerId="ADAL" clId="{9B87D221-1DA5-4A81-9093-FDA72DCF7A7F}" dt="2022-11-04T09:12:08.338" v="1000" actId="164"/>
          <ac:picMkLst>
            <pc:docMk/>
            <pc:sldMk cId="502937534" sldId="264"/>
            <ac:picMk id="168" creationId="{1A625E57-4D81-4328-99A6-CACD142809B4}"/>
          </ac:picMkLst>
        </pc:picChg>
        <pc:picChg chg="mod">
          <ac:chgData name="Keller, Kerstin" userId="07a869ac-2c53-4e52-bede-da560d92d420" providerId="ADAL" clId="{9B87D221-1DA5-4A81-9093-FDA72DCF7A7F}" dt="2022-11-04T09:17:27.766" v="1040" actId="165"/>
          <ac:picMkLst>
            <pc:docMk/>
            <pc:sldMk cId="502937534" sldId="264"/>
            <ac:picMk id="172" creationId="{B595B7A0-BF02-46E6-8F54-93D7B10B2CD9}"/>
          </ac:picMkLst>
        </pc:picChg>
        <pc:picChg chg="mod ord topLvl">
          <ac:chgData name="Keller, Kerstin" userId="07a869ac-2c53-4e52-bede-da560d92d420" providerId="ADAL" clId="{9B87D221-1DA5-4A81-9093-FDA72DCF7A7F}" dt="2022-11-04T09:39:07.189" v="1251" actId="164"/>
          <ac:picMkLst>
            <pc:docMk/>
            <pc:sldMk cId="502937534" sldId="264"/>
            <ac:picMk id="181" creationId="{3FBFA40C-D8B8-4792-A20C-5CC212972633}"/>
          </ac:picMkLst>
        </pc:picChg>
        <pc:picChg chg="del">
          <ac:chgData name="Keller, Kerstin" userId="07a869ac-2c53-4e52-bede-da560d92d420" providerId="ADAL" clId="{9B87D221-1DA5-4A81-9093-FDA72DCF7A7F}" dt="2022-11-04T09:12:41.251" v="1008" actId="478"/>
          <ac:picMkLst>
            <pc:docMk/>
            <pc:sldMk cId="502937534" sldId="264"/>
            <ac:picMk id="187" creationId="{76D841DF-484D-4369-9E9D-B39E4D60AF35}"/>
          </ac:picMkLst>
        </pc:picChg>
        <pc:picChg chg="del">
          <ac:chgData name="Keller, Kerstin" userId="07a869ac-2c53-4e52-bede-da560d92d420" providerId="ADAL" clId="{9B87D221-1DA5-4A81-9093-FDA72DCF7A7F}" dt="2022-11-04T09:13:30.361" v="1017" actId="478"/>
          <ac:picMkLst>
            <pc:docMk/>
            <pc:sldMk cId="502937534" sldId="264"/>
            <ac:picMk id="188" creationId="{309A6D68-EDF7-452F-9B95-6C49BB028D0C}"/>
          </ac:picMkLst>
        </pc:picChg>
        <pc:picChg chg="mod">
          <ac:chgData name="Keller, Kerstin" userId="07a869ac-2c53-4e52-bede-da560d92d420" providerId="ADAL" clId="{9B87D221-1DA5-4A81-9093-FDA72DCF7A7F}" dt="2022-11-04T09:56:30.545" v="1501" actId="12788"/>
          <ac:picMkLst>
            <pc:docMk/>
            <pc:sldMk cId="502937534" sldId="264"/>
            <ac:picMk id="190" creationId="{9DB295D8-73BE-4063-BCA6-2F5AE56FB3E2}"/>
          </ac:picMkLst>
        </pc:picChg>
        <pc:picChg chg="del mod ord topLvl">
          <ac:chgData name="Keller, Kerstin" userId="07a869ac-2c53-4e52-bede-da560d92d420" providerId="ADAL" clId="{9B87D221-1DA5-4A81-9093-FDA72DCF7A7F}" dt="2022-11-04T09:31:21.190" v="1146" actId="478"/>
          <ac:picMkLst>
            <pc:docMk/>
            <pc:sldMk cId="502937534" sldId="264"/>
            <ac:picMk id="194" creationId="{58CC36A8-4852-40EC-8CFB-8BDDDA995B11}"/>
          </ac:picMkLst>
        </pc:picChg>
        <pc:picChg chg="mod ord">
          <ac:chgData name="Keller, Kerstin" userId="07a869ac-2c53-4e52-bede-da560d92d420" providerId="ADAL" clId="{9B87D221-1DA5-4A81-9093-FDA72DCF7A7F}" dt="2022-11-04T09:13:09.230" v="1015" actId="164"/>
          <ac:picMkLst>
            <pc:docMk/>
            <pc:sldMk cId="502937534" sldId="264"/>
            <ac:picMk id="198" creationId="{D74F1BEA-8D93-492D-AA95-1BE7CB712A55}"/>
          </ac:picMkLst>
        </pc:picChg>
        <pc:picChg chg="mod topLvl">
          <ac:chgData name="Keller, Kerstin" userId="07a869ac-2c53-4e52-bede-da560d92d420" providerId="ADAL" clId="{9B87D221-1DA5-4A81-9093-FDA72DCF7A7F}" dt="2022-11-04T09:58:53.066" v="1514" actId="1076"/>
          <ac:picMkLst>
            <pc:docMk/>
            <pc:sldMk cId="502937534" sldId="264"/>
            <ac:picMk id="202" creationId="{C3C08469-F444-4863-9E73-07A0E28A8F29}"/>
          </ac:picMkLst>
        </pc:picChg>
        <pc:picChg chg="mod ord">
          <ac:chgData name="Keller, Kerstin" userId="07a869ac-2c53-4e52-bede-da560d92d420" providerId="ADAL" clId="{9B87D221-1DA5-4A81-9093-FDA72DCF7A7F}" dt="2022-11-04T09:18:45.337" v="1058" actId="164"/>
          <ac:picMkLst>
            <pc:docMk/>
            <pc:sldMk cId="502937534" sldId="264"/>
            <ac:picMk id="218" creationId="{72CD8B8E-AAFB-4207-952D-52AF7795A734}"/>
          </ac:picMkLst>
        </pc:picChg>
        <pc:picChg chg="add del mod">
          <ac:chgData name="Keller, Kerstin" userId="07a869ac-2c53-4e52-bede-da560d92d420" providerId="ADAL" clId="{9B87D221-1DA5-4A81-9093-FDA72DCF7A7F}" dt="2022-11-04T10:07:24.044" v="1551" actId="478"/>
          <ac:picMkLst>
            <pc:docMk/>
            <pc:sldMk cId="502937534" sldId="264"/>
            <ac:picMk id="256" creationId="{0F4B4FBF-E171-4CFD-A58B-EDE4D2DFB3D4}"/>
          </ac:picMkLst>
        </pc:picChg>
        <pc:picChg chg="add mod">
          <ac:chgData name="Keller, Kerstin" userId="07a869ac-2c53-4e52-bede-da560d92d420" providerId="ADAL" clId="{9B87D221-1DA5-4A81-9093-FDA72DCF7A7F}" dt="2022-11-04T10:08:14.535" v="1565" actId="1036"/>
          <ac:picMkLst>
            <pc:docMk/>
            <pc:sldMk cId="502937534" sldId="264"/>
            <ac:picMk id="258" creationId="{94D97646-88EF-4F2B-A992-2D164EE5D9C9}"/>
          </ac:picMkLst>
        </pc:picChg>
        <pc:cxnChg chg="add 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40" creationId="{46C284DF-4E86-44C5-8928-C8270C83C45C}"/>
          </ac:cxnSpMkLst>
        </pc:cxnChg>
        <pc:cxnChg chg="mod">
          <ac:chgData name="Keller, Kerstin" userId="07a869ac-2c53-4e52-bede-da560d92d420" providerId="ADAL" clId="{9B87D221-1DA5-4A81-9093-FDA72DCF7A7F}" dt="2022-11-04T09:58:53.066" v="1514" actId="1076"/>
          <ac:cxnSpMkLst>
            <pc:docMk/>
            <pc:sldMk cId="502937534" sldId="264"/>
            <ac:cxnSpMk id="161" creationId="{751E7854-9A41-40E1-855B-5D4BB3192166}"/>
          </ac:cxnSpMkLst>
        </pc:cxnChg>
        <pc:cxnChg chg="mod">
          <ac:chgData name="Keller, Kerstin" userId="07a869ac-2c53-4e52-bede-da560d92d420" providerId="ADAL" clId="{9B87D221-1DA5-4A81-9093-FDA72DCF7A7F}" dt="2022-11-04T09:58:53.066" v="1514" actId="1076"/>
          <ac:cxnSpMkLst>
            <pc:docMk/>
            <pc:sldMk cId="502937534" sldId="264"/>
            <ac:cxnSpMk id="164" creationId="{CCF27D0A-3388-45D3-95E0-7C244ACB823F}"/>
          </ac:cxnSpMkLst>
        </pc:cxnChg>
        <pc:cxnChg chg="mod">
          <ac:chgData name="Keller, Kerstin" userId="07a869ac-2c53-4e52-bede-da560d92d420" providerId="ADAL" clId="{9B87D221-1DA5-4A81-9093-FDA72DCF7A7F}" dt="2022-11-04T09:58:53.066" v="1514" actId="1076"/>
          <ac:cxnSpMkLst>
            <pc:docMk/>
            <pc:sldMk cId="502937534" sldId="264"/>
            <ac:cxnSpMk id="167" creationId="{6E425610-4AF6-410C-953A-2867391A1E22}"/>
          </ac:cxnSpMkLst>
        </pc:cxnChg>
        <pc:cxnChg chg="add 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73" creationId="{78DF87D6-5FAF-461D-916B-E8E690BD22DB}"/>
          </ac:cxnSpMkLst>
        </pc:cxnChg>
        <pc:cxnChg chg="add 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74" creationId="{2E4BFF1D-56B9-41D8-8C4E-A1076A212E49}"/>
          </ac:cxnSpMkLst>
        </pc:cxnChg>
        <pc:cxnChg chg="del mod">
          <ac:chgData name="Keller, Kerstin" userId="07a869ac-2c53-4e52-bede-da560d92d420" providerId="ADAL" clId="{9B87D221-1DA5-4A81-9093-FDA72DCF7A7F}" dt="2022-11-04T09:26:12.903" v="1107" actId="478"/>
          <ac:cxnSpMkLst>
            <pc:docMk/>
            <pc:sldMk cId="502937534" sldId="264"/>
            <ac:cxnSpMk id="178" creationId="{4587CB92-E580-49C3-A8BE-2AA10B46004F}"/>
          </ac:cxnSpMkLst>
        </pc:cxnChg>
        <pc:cxnChg chg="del mod">
          <ac:chgData name="Keller, Kerstin" userId="07a869ac-2c53-4e52-bede-da560d92d420" providerId="ADAL" clId="{9B87D221-1DA5-4A81-9093-FDA72DCF7A7F}" dt="2022-11-04T09:30:40.294" v="1139" actId="478"/>
          <ac:cxnSpMkLst>
            <pc:docMk/>
            <pc:sldMk cId="502937534" sldId="264"/>
            <ac:cxnSpMk id="184" creationId="{EAECA03F-A5C0-4711-B0D4-D69A4DDCDCD3}"/>
          </ac:cxnSpMkLst>
        </pc:cxnChg>
        <pc:cxnChg chg="del mod">
          <ac:chgData name="Keller, Kerstin" userId="07a869ac-2c53-4e52-bede-da560d92d420" providerId="ADAL" clId="{9B87D221-1DA5-4A81-9093-FDA72DCF7A7F}" dt="2022-11-04T09:26:05.923" v="1105" actId="478"/>
          <ac:cxnSpMkLst>
            <pc:docMk/>
            <pc:sldMk cId="502937534" sldId="264"/>
            <ac:cxnSpMk id="185" creationId="{4B52B56C-6A26-4DD1-B186-5C1141244494}"/>
          </ac:cxnSpMkLst>
        </pc:cxnChg>
        <pc:cxnChg chg="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89" creationId="{2F00AACF-1D0E-4A25-B7A4-5F60E3E39ECB}"/>
          </ac:cxnSpMkLst>
        </pc:cxnChg>
        <pc:cxnChg chg="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93" creationId="{8B8B42F3-F6C3-4D2D-8E22-4B938E2EDD02}"/>
          </ac:cxnSpMkLst>
        </pc:cxnChg>
        <pc:cxnChg chg="add 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95" creationId="{20FCD5C6-BA14-4DFD-8CEF-26BFDE02C51B}"/>
          </ac:cxnSpMkLst>
        </pc:cxnChg>
        <pc:cxnChg chg="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197" creationId="{00020C28-CD74-4492-AF12-529B70857C4D}"/>
          </ac:cxnSpMkLst>
        </pc:cxnChg>
        <pc:cxnChg chg="mod">
          <ac:chgData name="Keller, Kerstin" userId="07a869ac-2c53-4e52-bede-da560d92d420" providerId="ADAL" clId="{9B87D221-1DA5-4A81-9093-FDA72DCF7A7F}" dt="2022-11-04T09:49:59.914" v="1449" actId="164"/>
          <ac:cxnSpMkLst>
            <pc:docMk/>
            <pc:sldMk cId="502937534" sldId="264"/>
            <ac:cxnSpMk id="205" creationId="{DF9EF43D-D628-45CF-90A6-C4412D219508}"/>
          </ac:cxnSpMkLst>
        </pc:cxnChg>
        <pc:cxnChg chg="del mod">
          <ac:chgData name="Keller, Kerstin" userId="07a869ac-2c53-4e52-bede-da560d92d420" providerId="ADAL" clId="{9B87D221-1DA5-4A81-9093-FDA72DCF7A7F}" dt="2022-11-04T09:26:09.590" v="1106" actId="478"/>
          <ac:cxnSpMkLst>
            <pc:docMk/>
            <pc:sldMk cId="502937534" sldId="264"/>
            <ac:cxnSpMk id="217" creationId="{D8F3C676-491E-482E-BC9A-4BA788AF3C7F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28" creationId="{9323BFB0-E38A-4442-AB4F-657D3588F166}"/>
          </ac:cxnSpMkLst>
        </pc:cxnChg>
        <pc:cxnChg chg="add del mod">
          <ac:chgData name="Keller, Kerstin" userId="07a869ac-2c53-4e52-bede-da560d92d420" providerId="ADAL" clId="{9B87D221-1DA5-4A81-9093-FDA72DCF7A7F}" dt="2022-11-04T09:43:28.591" v="1312" actId="478"/>
          <ac:cxnSpMkLst>
            <pc:docMk/>
            <pc:sldMk cId="502937534" sldId="264"/>
            <ac:cxnSpMk id="232" creationId="{094113E3-D33A-43A4-9396-FE88FB9B7D52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33" creationId="{FD0D5869-D59E-4E05-87B4-6C2BA1BA29B4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36" creationId="{A76421EC-E03E-433B-BB66-9C05BDC89EB9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40" creationId="{B27C1D4C-3793-4063-B8AD-E54D125F3714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43" creationId="{C04C65AE-929A-4A78-B655-27B7AD4F4C1D}"/>
          </ac:cxnSpMkLst>
        </pc:cxnChg>
        <pc:cxnChg chg="add mod">
          <ac:chgData name="Keller, Kerstin" userId="07a869ac-2c53-4e52-bede-da560d92d420" providerId="ADAL" clId="{9B87D221-1DA5-4A81-9093-FDA72DCF7A7F}" dt="2022-11-04T09:56:30.545" v="1501" actId="12788"/>
          <ac:cxnSpMkLst>
            <pc:docMk/>
            <pc:sldMk cId="502937534" sldId="264"/>
            <ac:cxnSpMk id="246" creationId="{0D728175-7D5F-496C-90E5-87A65E8420B9}"/>
          </ac:cxnSpMkLst>
        </pc:cxnChg>
      </pc:sldChg>
    </pc:docChg>
  </pc:docChgLst>
  <pc:docChgLst>
    <pc:chgData name="Schilasky, Rex" userId="ecbb5271-21ea-448d-ad91-563b29abb79f" providerId="ADAL" clId="{FF8949F3-A6CC-46C5-953B-6BAEB09A1D78}"/>
    <pc:docChg chg="undo custSel modSld">
      <pc:chgData name="Schilasky, Rex" userId="ecbb5271-21ea-448d-ad91-563b29abb79f" providerId="ADAL" clId="{FF8949F3-A6CC-46C5-953B-6BAEB09A1D78}" dt="2022-11-04T10:24:52.924" v="18" actId="20577"/>
      <pc:docMkLst>
        <pc:docMk/>
      </pc:docMkLst>
      <pc:sldChg chg="modSp mod">
        <pc:chgData name="Schilasky, Rex" userId="ecbb5271-21ea-448d-ad91-563b29abb79f" providerId="ADAL" clId="{FF8949F3-A6CC-46C5-953B-6BAEB09A1D78}" dt="2022-11-04T10:24:52.924" v="18" actId="20577"/>
        <pc:sldMkLst>
          <pc:docMk/>
          <pc:sldMk cId="502937534" sldId="264"/>
        </pc:sldMkLst>
        <pc:spChg chg="mod">
          <ac:chgData name="Schilasky, Rex" userId="ecbb5271-21ea-448d-ad91-563b29abb79f" providerId="ADAL" clId="{FF8949F3-A6CC-46C5-953B-6BAEB09A1D78}" dt="2022-11-04T10:16:12.641" v="5" actId="20577"/>
          <ac:spMkLst>
            <pc:docMk/>
            <pc:sldMk cId="502937534" sldId="264"/>
            <ac:spMk id="2" creationId="{0D9CC736-084F-437D-B21E-6987C34F22ED}"/>
          </ac:spMkLst>
        </pc:spChg>
        <pc:spChg chg="mod">
          <ac:chgData name="Schilasky, Rex" userId="ecbb5271-21ea-448d-ad91-563b29abb79f" providerId="ADAL" clId="{FF8949F3-A6CC-46C5-953B-6BAEB09A1D78}" dt="2022-11-04T10:24:52.924" v="18" actId="20577"/>
          <ac:spMkLst>
            <pc:docMk/>
            <pc:sldMk cId="502937534" sldId="264"/>
            <ac:spMk id="39" creationId="{D50C17AA-0CC0-4052-876B-CFBB9AF5CAB5}"/>
          </ac:spMkLst>
        </pc:spChg>
        <pc:picChg chg="mod">
          <ac:chgData name="Schilasky, Rex" userId="ecbb5271-21ea-448d-ad91-563b29abb79f" providerId="ADAL" clId="{FF8949F3-A6CC-46C5-953B-6BAEB09A1D78}" dt="2022-11-04T10:18:34.912" v="7" actId="1076"/>
          <ac:picMkLst>
            <pc:docMk/>
            <pc:sldMk cId="502937534" sldId="264"/>
            <ac:picMk id="57" creationId="{387837E2-DA7A-4A9A-8A15-ECB78E9A3B5C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082800" y="744538"/>
            <a:ext cx="26320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97528" indent="-197528" algn="l" defTabSz="1053480" rtl="0" eaLnBrk="1" latinLnBrk="0" hangingPunct="1">
      <a:spcAft>
        <a:spcPts val="691"/>
      </a:spcAft>
      <a:buFont typeface="Arial" pitchFamily="34" charset="0"/>
      <a:buChar char="›"/>
      <a:defRPr sz="1613" kern="1200">
        <a:solidFill>
          <a:schemeClr val="tx1"/>
        </a:solidFill>
        <a:latin typeface="+mn-lt"/>
        <a:ea typeface="+mn-ea"/>
        <a:cs typeface="+mn-cs"/>
      </a:defRPr>
    </a:lvl1pPr>
    <a:lvl2pPr marL="616360" indent="-197528" algn="l" defTabSz="1053480" rtl="0" eaLnBrk="1" latinLnBrk="0" hangingPunct="1">
      <a:spcAft>
        <a:spcPts val="691"/>
      </a:spcAft>
      <a:buFont typeface="Arial" pitchFamily="34" charset="0"/>
      <a:buChar char="›"/>
      <a:defRPr sz="1613" kern="1200">
        <a:solidFill>
          <a:schemeClr val="tx1"/>
        </a:solidFill>
        <a:latin typeface="+mn-lt"/>
        <a:ea typeface="+mn-ea"/>
        <a:cs typeface="+mn-cs"/>
      </a:defRPr>
    </a:lvl2pPr>
    <a:lvl3pPr marL="1033362" indent="-197528" algn="l" defTabSz="1053480" rtl="0" eaLnBrk="1" latinLnBrk="0" hangingPunct="1">
      <a:spcAft>
        <a:spcPts val="691"/>
      </a:spcAft>
      <a:buFont typeface="Arial" pitchFamily="34" charset="0"/>
      <a:buChar char="›"/>
      <a:defRPr sz="1613" kern="1200">
        <a:solidFill>
          <a:schemeClr val="tx1"/>
        </a:solidFill>
        <a:latin typeface="+mn-lt"/>
        <a:ea typeface="+mn-ea"/>
        <a:cs typeface="+mn-cs"/>
      </a:defRPr>
    </a:lvl3pPr>
    <a:lvl4pPr marL="1439391" indent="-197528" algn="l" defTabSz="1053480" rtl="0" eaLnBrk="1" latinLnBrk="0" hangingPunct="1">
      <a:spcAft>
        <a:spcPts val="691"/>
      </a:spcAft>
      <a:buFont typeface="Arial" pitchFamily="34" charset="0"/>
      <a:buChar char="›"/>
      <a:defRPr sz="1613" kern="1200">
        <a:solidFill>
          <a:schemeClr val="tx1"/>
        </a:solidFill>
        <a:latin typeface="+mn-lt"/>
        <a:ea typeface="+mn-ea"/>
        <a:cs typeface="+mn-cs"/>
      </a:defRPr>
    </a:lvl4pPr>
    <a:lvl5pPr marL="1869196" indent="-197528" algn="l" defTabSz="1053480" rtl="0" eaLnBrk="1" latinLnBrk="0" hangingPunct="1">
      <a:spcAft>
        <a:spcPts val="691"/>
      </a:spcAft>
      <a:buFont typeface="Arial" pitchFamily="34" charset="0"/>
      <a:buChar char="›"/>
      <a:defRPr sz="1613" kern="1200">
        <a:solidFill>
          <a:schemeClr val="tx1"/>
        </a:solidFill>
        <a:latin typeface="+mn-lt"/>
        <a:ea typeface="+mn-ea"/>
        <a:cs typeface="+mn-cs"/>
      </a:defRPr>
    </a:lvl5pPr>
    <a:lvl6pPr marL="2633701" algn="l" defTabSz="1053480" rtl="0" eaLnBrk="1" latinLnBrk="0" hangingPunct="1">
      <a:defRPr sz="1383" kern="1200">
        <a:solidFill>
          <a:schemeClr val="tx1"/>
        </a:solidFill>
        <a:latin typeface="+mn-lt"/>
        <a:ea typeface="+mn-ea"/>
        <a:cs typeface="+mn-cs"/>
      </a:defRPr>
    </a:lvl6pPr>
    <a:lvl7pPr marL="3160441" algn="l" defTabSz="1053480" rtl="0" eaLnBrk="1" latinLnBrk="0" hangingPunct="1">
      <a:defRPr sz="1383" kern="1200">
        <a:solidFill>
          <a:schemeClr val="tx1"/>
        </a:solidFill>
        <a:latin typeface="+mn-lt"/>
        <a:ea typeface="+mn-ea"/>
        <a:cs typeface="+mn-cs"/>
      </a:defRPr>
    </a:lvl7pPr>
    <a:lvl8pPr marL="3687181" algn="l" defTabSz="1053480" rtl="0" eaLnBrk="1" latinLnBrk="0" hangingPunct="1">
      <a:defRPr sz="1383" kern="1200">
        <a:solidFill>
          <a:schemeClr val="tx1"/>
        </a:solidFill>
        <a:latin typeface="+mn-lt"/>
        <a:ea typeface="+mn-ea"/>
        <a:cs typeface="+mn-cs"/>
      </a:defRPr>
    </a:lvl8pPr>
    <a:lvl9pPr marL="4213921" algn="l" defTabSz="1053480" rtl="0" eaLnBrk="1" latinLnBrk="0" hangingPunct="1">
      <a:defRPr sz="138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082800" y="744538"/>
            <a:ext cx="263207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771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20434" y="9147184"/>
            <a:ext cx="9850948" cy="1190500"/>
          </a:xfrm>
        </p:spPr>
        <p:txBody>
          <a:bodyPr tIns="0" rIns="0" bIns="0" anchor="t" anchorCtr="0">
            <a:noAutofit/>
          </a:bodyPr>
          <a:lstStyle>
            <a:lvl1pPr algn="l">
              <a:defRPr sz="3118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20434" y="10163078"/>
            <a:ext cx="9850948" cy="2641424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118">
                <a:solidFill>
                  <a:schemeClr val="tx1"/>
                </a:solidFill>
              </a:defRPr>
            </a:lvl1pPr>
            <a:lvl2pPr marL="593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87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81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75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69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63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57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51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20434" y="13304579"/>
            <a:ext cx="3157031" cy="843264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169" b="0"/>
            </a:lvl1pPr>
          </a:lstStyle>
          <a:p>
            <a:pPr lvl="0"/>
            <a:r>
              <a:rPr lang="en-US" noProof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5535833" y="13297961"/>
            <a:ext cx="4735547" cy="843266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169" b="0"/>
            </a:lvl1pPr>
          </a:lstStyle>
          <a:p>
            <a:pPr lvl="0"/>
            <a:r>
              <a:rPr lang="en-US" noProof="0"/>
              <a:t>Division Naming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7E7BBFD-3E8C-4D1D-B632-1B7D6E4E09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4276" y="405985"/>
            <a:ext cx="10359088" cy="8186150"/>
          </a:xfrm>
          <a:custGeom>
            <a:avLst/>
            <a:gdLst>
              <a:gd name="connsiteX0" fmla="*/ 0 w 10631330"/>
              <a:gd name="connsiteY0" fmla="*/ 0 h 3713163"/>
              <a:gd name="connsiteX1" fmla="*/ 263407 w 10631330"/>
              <a:gd name="connsiteY1" fmla="*/ 0 h 3713163"/>
              <a:gd name="connsiteX2" fmla="*/ 263407 w 10631330"/>
              <a:gd name="connsiteY2" fmla="*/ 1063753 h 3713163"/>
              <a:gd name="connsiteX3" fmla="*/ 264334 w 10631330"/>
              <a:gd name="connsiteY3" fmla="*/ 1063753 h 3713163"/>
              <a:gd name="connsiteX4" fmla="*/ 264334 w 10631330"/>
              <a:gd name="connsiteY4" fmla="*/ 1063754 h 3713163"/>
              <a:gd name="connsiteX5" fmla="*/ 2481881 w 10631330"/>
              <a:gd name="connsiteY5" fmla="*/ 1063754 h 3713163"/>
              <a:gd name="connsiteX6" fmla="*/ 2481881 w 10631330"/>
              <a:gd name="connsiteY6" fmla="*/ 1063753 h 3713163"/>
              <a:gd name="connsiteX7" fmla="*/ 2727348 w 10631330"/>
              <a:gd name="connsiteY7" fmla="*/ 1063753 h 3713163"/>
              <a:gd name="connsiteX8" fmla="*/ 2727348 w 10631330"/>
              <a:gd name="connsiteY8" fmla="*/ 0 h 3713163"/>
              <a:gd name="connsiteX9" fmla="*/ 10631330 w 10631330"/>
              <a:gd name="connsiteY9" fmla="*/ 0 h 3713163"/>
              <a:gd name="connsiteX10" fmla="*/ 10631330 w 10631330"/>
              <a:gd name="connsiteY10" fmla="*/ 3713163 h 3713163"/>
              <a:gd name="connsiteX11" fmla="*/ 0 w 10631330"/>
              <a:gd name="connsiteY11" fmla="*/ 3713163 h 3713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631330" h="3713163">
                <a:moveTo>
                  <a:pt x="0" y="0"/>
                </a:moveTo>
                <a:lnTo>
                  <a:pt x="263407" y="0"/>
                </a:lnTo>
                <a:lnTo>
                  <a:pt x="263407" y="1063753"/>
                </a:lnTo>
                <a:lnTo>
                  <a:pt x="264334" y="1063753"/>
                </a:lnTo>
                <a:lnTo>
                  <a:pt x="264334" y="1063754"/>
                </a:lnTo>
                <a:lnTo>
                  <a:pt x="2481881" y="1063754"/>
                </a:lnTo>
                <a:lnTo>
                  <a:pt x="2481881" y="1063753"/>
                </a:lnTo>
                <a:lnTo>
                  <a:pt x="2727348" y="1063753"/>
                </a:lnTo>
                <a:lnTo>
                  <a:pt x="2727348" y="0"/>
                </a:lnTo>
                <a:lnTo>
                  <a:pt x="10631330" y="0"/>
                </a:lnTo>
                <a:lnTo>
                  <a:pt x="10631330" y="3713163"/>
                </a:lnTo>
                <a:lnTo>
                  <a:pt x="0" y="3713163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1332000" rIns="0" bIns="18000" rtlCol="0">
            <a:noAutofit/>
          </a:bodyPr>
          <a:lstStyle>
            <a:lvl1pPr marL="0" indent="0" algn="ctr">
              <a:buNone/>
              <a:defRPr lang="de-DE"/>
            </a:lvl1pPr>
          </a:lstStyle>
          <a:p>
            <a:pPr marL="176342" lvl="0" indent="-176342"/>
            <a:r>
              <a:rPr lang="de-DE"/>
              <a:t>Bild durch Klicken auf Symbol hinzufügen</a:t>
            </a:r>
          </a:p>
        </p:txBody>
      </p:sp>
      <p:sp>
        <p:nvSpPr>
          <p:cNvPr id="15" name="Logo">
            <a:extLst>
              <a:ext uri="{FF2B5EF4-FFF2-40B4-BE49-F238E27FC236}">
                <a16:creationId xmlns:a16="http://schemas.microsoft.com/office/drawing/2014/main" id="{6451215F-CD9E-49A9-B13E-7BFB9DE67F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39" y="1"/>
            <a:ext cx="2400845" cy="275116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780"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13" userDrawn="1">
          <p15:clr>
            <a:srgbClr val="FBAE40"/>
          </p15:clr>
        </p15:guide>
        <p15:guide id="2" pos="265" userDrawn="1">
          <p15:clr>
            <a:srgbClr val="FBAE40"/>
          </p15:clr>
        </p15:guide>
        <p15:guide id="3" pos="647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7787" y="3352862"/>
            <a:ext cx="9976241" cy="452530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Masterfeld-Info-EN">
            <a:extLst>
              <a:ext uri="{FF2B5EF4-FFF2-40B4-BE49-F238E27FC236}">
                <a16:creationId xmlns:a16="http://schemas.microsoft.com/office/drawing/2014/main" id="{BBD84743-2E88-4CE0-AFA4-F69E9D3E9C8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8" name="Masterfeld-Info-DE" hidden="1">
            <a:extLst>
              <a:ext uri="{FF2B5EF4-FFF2-40B4-BE49-F238E27FC236}">
                <a16:creationId xmlns:a16="http://schemas.microsoft.com/office/drawing/2014/main" id="{EE25DB56-8D0A-4ECD-9EC4-43216953B4F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2" name="Masterfeld-Class-EN">
            <a:extLst>
              <a:ext uri="{FF2B5EF4-FFF2-40B4-BE49-F238E27FC236}">
                <a16:creationId xmlns:a16="http://schemas.microsoft.com/office/drawing/2014/main" id="{49B12775-26B1-4AF5-8650-BA2FEF94740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3" name="Masterfeld-Class-DE" hidden="1">
            <a:extLst>
              <a:ext uri="{FF2B5EF4-FFF2-40B4-BE49-F238E27FC236}">
                <a16:creationId xmlns:a16="http://schemas.microsoft.com/office/drawing/2014/main" id="{61524295-E49C-4F36-B60E-51DD3D6AAD4E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89BC52-5CA1-4F1A-8F36-5A08356483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4712C98-8AD5-4CE8-9F94-B297C3F844A2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2FB455-378B-4612-9C60-A662E20EA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84AE962-BD9B-4B92-930D-8835CAC1C7E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4963" userDrawn="1">
          <p15:clr>
            <a:srgbClr val="FBAE40"/>
          </p15:clr>
        </p15:guide>
        <p15:guide id="4" orient="horz" pos="211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7787" y="8274055"/>
            <a:ext cx="9976241" cy="46053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Masterfeld-Info-EN">
            <a:extLst>
              <a:ext uri="{FF2B5EF4-FFF2-40B4-BE49-F238E27FC236}">
                <a16:creationId xmlns:a16="http://schemas.microsoft.com/office/drawing/2014/main" id="{2CD5E52D-26FA-4E25-A2EA-68F13C9E389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8" name="Masterfeld-Info-DE" hidden="1">
            <a:extLst>
              <a:ext uri="{FF2B5EF4-FFF2-40B4-BE49-F238E27FC236}">
                <a16:creationId xmlns:a16="http://schemas.microsoft.com/office/drawing/2014/main" id="{B2182545-1DB7-4E2C-9926-84EC5A228AE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2" name="Masterfeld-Class-EN">
            <a:extLst>
              <a:ext uri="{FF2B5EF4-FFF2-40B4-BE49-F238E27FC236}">
                <a16:creationId xmlns:a16="http://schemas.microsoft.com/office/drawing/2014/main" id="{495AA1C3-9286-4E8A-A312-DDA9A9C0E82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3" name="Masterfeld-Class-DE" hidden="1">
            <a:extLst>
              <a:ext uri="{FF2B5EF4-FFF2-40B4-BE49-F238E27FC236}">
                <a16:creationId xmlns:a16="http://schemas.microsoft.com/office/drawing/2014/main" id="{1E77F14D-8E46-4849-B3AB-AF7AE0A1B4A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A079856-E8CA-4BC6-BDC7-06B9E1BCF3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BE2B45-BAA4-49DE-857B-407F258DBA95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0AA50E-2AB3-457A-9A97-1DE1E05177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FE33324-B75E-4CC2-BAB9-FE07B5F78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5212" userDrawn="1">
          <p15:clr>
            <a:srgbClr val="FBAE40"/>
          </p15:clr>
        </p15:guide>
        <p15:guide id="4" orient="horz" pos="811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7788" y="3352858"/>
            <a:ext cx="4925472" cy="95318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40575" y="3352858"/>
            <a:ext cx="4893455" cy="95318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Masterfeld-Info-EN">
            <a:extLst>
              <a:ext uri="{FF2B5EF4-FFF2-40B4-BE49-F238E27FC236}">
                <a16:creationId xmlns:a16="http://schemas.microsoft.com/office/drawing/2014/main" id="{53A88AFF-94F5-4FCD-8D4C-6459D882D1B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9" name="Masterfeld-Info-DE" hidden="1">
            <a:extLst>
              <a:ext uri="{FF2B5EF4-FFF2-40B4-BE49-F238E27FC236}">
                <a16:creationId xmlns:a16="http://schemas.microsoft.com/office/drawing/2014/main" id="{FAAF0AA5-65AC-49CB-AC1D-3ABC4BD4966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1" name="Masterfeld-Class-EN">
            <a:extLst>
              <a:ext uri="{FF2B5EF4-FFF2-40B4-BE49-F238E27FC236}">
                <a16:creationId xmlns:a16="http://schemas.microsoft.com/office/drawing/2014/main" id="{50FC0445-80BD-4EFA-8BB7-6E6DAF4C0E5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Masterfeld-Class-DE" hidden="1">
            <a:extLst>
              <a:ext uri="{FF2B5EF4-FFF2-40B4-BE49-F238E27FC236}">
                <a16:creationId xmlns:a16="http://schemas.microsoft.com/office/drawing/2014/main" id="{0155F9EB-3A8F-42E5-94A8-1AC1AD45F94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E83C46-BBB8-43A2-B77B-9618AA0823A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9058353-059B-46A4-9F26-0E72B4267AAD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247540-8C8C-4F31-8A83-EBA461E849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D9D38F-75C3-4AF0-8756-8D5ACFD03D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  <p15:guide id="3" pos="3329" userDrawn="1">
          <p15:clr>
            <a:srgbClr val="FBAE40"/>
          </p15:clr>
        </p15:guide>
        <p15:guide id="4" pos="3427" userDrawn="1">
          <p15:clr>
            <a:srgbClr val="FBAE40"/>
          </p15:clr>
        </p15:guide>
        <p15:guide id="5" orient="horz" pos="8113" userDrawn="1">
          <p15:clr>
            <a:srgbClr val="FBAE40"/>
          </p15:clr>
        </p15:guide>
        <p15:guide id="6" orient="horz" pos="211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5100" y="3352860"/>
            <a:ext cx="3226376" cy="95265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735175" y="3358109"/>
            <a:ext cx="3220172" cy="95265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114081" y="3352860"/>
            <a:ext cx="3220171" cy="95265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Masterfeld-Info-EN">
            <a:extLst>
              <a:ext uri="{FF2B5EF4-FFF2-40B4-BE49-F238E27FC236}">
                <a16:creationId xmlns:a16="http://schemas.microsoft.com/office/drawing/2014/main" id="{214C5712-6A9F-489F-8BA9-AFE00E56016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3" name="Masterfeld-Info-DE" hidden="1">
            <a:extLst>
              <a:ext uri="{FF2B5EF4-FFF2-40B4-BE49-F238E27FC236}">
                <a16:creationId xmlns:a16="http://schemas.microsoft.com/office/drawing/2014/main" id="{21FB6E9B-9F6C-485E-9589-5F5A0A88031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4" name="Masterfeld-Class-EN">
            <a:extLst>
              <a:ext uri="{FF2B5EF4-FFF2-40B4-BE49-F238E27FC236}">
                <a16:creationId xmlns:a16="http://schemas.microsoft.com/office/drawing/2014/main" id="{FA57613C-D43C-4D9C-AFB5-ED744A18B36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5" name="Masterfeld-Class-DE" hidden="1">
            <a:extLst>
              <a:ext uri="{FF2B5EF4-FFF2-40B4-BE49-F238E27FC236}">
                <a16:creationId xmlns:a16="http://schemas.microsoft.com/office/drawing/2014/main" id="{56F13918-D7C2-444E-8F75-0DC78AFE66D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1321AC-7BC4-4B31-8B84-59D4E91DC84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D563F88-FE8C-4329-AC89-610BE7C6B001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261F320-8027-434B-A803-11FF7F014D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F31682-0FDA-4A01-95B3-367747ED1BD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354" userDrawn="1">
          <p15:clr>
            <a:srgbClr val="FBAE40"/>
          </p15:clr>
        </p15:guide>
        <p15:guide id="2" pos="6510" userDrawn="1">
          <p15:clr>
            <a:srgbClr val="FBAE40"/>
          </p15:clr>
        </p15:guide>
        <p15:guide id="3" pos="4481" userDrawn="1">
          <p15:clr>
            <a:srgbClr val="FBAE40"/>
          </p15:clr>
        </p15:guide>
        <p15:guide id="4" pos="4382" userDrawn="1">
          <p15:clr>
            <a:srgbClr val="FBAE40"/>
          </p15:clr>
        </p15:guide>
        <p15:guide id="5" pos="2254" userDrawn="1">
          <p15:clr>
            <a:srgbClr val="FBAE40"/>
          </p15:clr>
        </p15:guide>
        <p15:guide id="6" pos="225" userDrawn="1">
          <p15:clr>
            <a:srgbClr val="FBAE40"/>
          </p15:clr>
        </p15:guide>
        <p15:guide id="7" orient="horz" pos="8113" userDrawn="1">
          <p15:clr>
            <a:srgbClr val="FBAE40"/>
          </p15:clr>
        </p15:guide>
        <p15:guide id="8" orient="horz" pos="210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57788" y="3352855"/>
            <a:ext cx="4925473" cy="45179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440574" y="3352855"/>
            <a:ext cx="4893454" cy="45179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7788" y="8273645"/>
            <a:ext cx="4925473" cy="458926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440574" y="8273645"/>
            <a:ext cx="4893454" cy="458926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Masterfeld-Info-EN">
            <a:extLst>
              <a:ext uri="{FF2B5EF4-FFF2-40B4-BE49-F238E27FC236}">
                <a16:creationId xmlns:a16="http://schemas.microsoft.com/office/drawing/2014/main" id="{9017C813-5BA6-4D39-8940-6B08D300F20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1" name="Masterfeld-Info-DE" hidden="1">
            <a:extLst>
              <a:ext uri="{FF2B5EF4-FFF2-40B4-BE49-F238E27FC236}">
                <a16:creationId xmlns:a16="http://schemas.microsoft.com/office/drawing/2014/main" id="{7C011D9A-1EE5-424F-88B2-CA66B81AD02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2" name="Masterfeld-Class-EN">
            <a:extLst>
              <a:ext uri="{FF2B5EF4-FFF2-40B4-BE49-F238E27FC236}">
                <a16:creationId xmlns:a16="http://schemas.microsoft.com/office/drawing/2014/main" id="{75B564EF-73C8-4518-827A-0328E6CEBB3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8AE0DB92-A9F6-49C3-BB94-82D1F49349F8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4738F1B-1061-4AB7-95F1-3DC90D3CE99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989E624-C9BE-43DB-A9E5-6186B34402BE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BFD5DC6-B167-4181-BAEF-F543DC41B2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1E757D-8C1D-445C-AC7E-0EBF0824E1F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329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pos="6510" userDrawn="1">
          <p15:clr>
            <a:srgbClr val="FBAE40"/>
          </p15:clr>
        </p15:guide>
        <p15:guide id="4" pos="3427" userDrawn="1">
          <p15:clr>
            <a:srgbClr val="FBAE40"/>
          </p15:clr>
        </p15:guide>
        <p15:guide id="5" orient="horz" pos="4963" userDrawn="1">
          <p15:clr>
            <a:srgbClr val="FBAE40"/>
          </p15:clr>
        </p15:guide>
        <p15:guide id="6" orient="horz" pos="2109" userDrawn="1">
          <p15:clr>
            <a:srgbClr val="FBAE40"/>
          </p15:clr>
        </p15:guide>
        <p15:guide id="7" orient="horz" pos="5210" userDrawn="1">
          <p15:clr>
            <a:srgbClr val="FBAE40"/>
          </p15:clr>
        </p15:guide>
        <p15:guide id="8" orient="horz" pos="81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Masterfeld-Info-EN">
            <a:extLst>
              <a:ext uri="{FF2B5EF4-FFF2-40B4-BE49-F238E27FC236}">
                <a16:creationId xmlns:a16="http://schemas.microsoft.com/office/drawing/2014/main" id="{F9981BC5-CCC7-4FF9-B1D8-1D71C65E33A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0" name="Masterfeld-Info-DE" hidden="1">
            <a:extLst>
              <a:ext uri="{FF2B5EF4-FFF2-40B4-BE49-F238E27FC236}">
                <a16:creationId xmlns:a16="http://schemas.microsoft.com/office/drawing/2014/main" id="{CB9D7CEE-A1CA-4842-B49F-30A998FA2C4C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1" name="Masterfeld-Class-EN">
            <a:extLst>
              <a:ext uri="{FF2B5EF4-FFF2-40B4-BE49-F238E27FC236}">
                <a16:creationId xmlns:a16="http://schemas.microsoft.com/office/drawing/2014/main" id="{89A9CC8E-92C4-482F-BC7E-2114D3BC1E4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Masterfeld-Class-DE" hidden="1">
            <a:extLst>
              <a:ext uri="{FF2B5EF4-FFF2-40B4-BE49-F238E27FC236}">
                <a16:creationId xmlns:a16="http://schemas.microsoft.com/office/drawing/2014/main" id="{CC74004F-E8EF-49F0-BBC7-533CF4F6A89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2F3029-8AEB-431D-97B8-E92CE50EC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BAD3E-6A25-4B48-B9E0-27CF9BDD66BE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5B00A3-4CF7-4D33-9F5D-E496D15AD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AEBAA-4FAB-419C-B9C6-0231855BD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8113" userDrawn="1">
          <p15:clr>
            <a:srgbClr val="FBAE40"/>
          </p15:clr>
        </p15:guide>
        <p15:guide id="4" orient="horz" pos="211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sterfeld-Info-EN">
            <a:extLst>
              <a:ext uri="{FF2B5EF4-FFF2-40B4-BE49-F238E27FC236}">
                <a16:creationId xmlns:a16="http://schemas.microsoft.com/office/drawing/2014/main" id="{C4EA5930-5BD5-4755-8ACE-1A710487D7A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9" name="Masterfeld-Info-DE" hidden="1">
            <a:extLst>
              <a:ext uri="{FF2B5EF4-FFF2-40B4-BE49-F238E27FC236}">
                <a16:creationId xmlns:a16="http://schemas.microsoft.com/office/drawing/2014/main" id="{AAAF4BE3-28EE-47B2-8968-097127507F7C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0" name="Masterfeld-Class-EN">
            <a:extLst>
              <a:ext uri="{FF2B5EF4-FFF2-40B4-BE49-F238E27FC236}">
                <a16:creationId xmlns:a16="http://schemas.microsoft.com/office/drawing/2014/main" id="{F49BA0AC-5A5B-4A49-835C-C68D1F954F1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1" name="Masterfeld-Class-DE" hidden="1">
            <a:extLst>
              <a:ext uri="{FF2B5EF4-FFF2-40B4-BE49-F238E27FC236}">
                <a16:creationId xmlns:a16="http://schemas.microsoft.com/office/drawing/2014/main" id="{52F40DD3-66FE-42C5-8380-106ECE630B20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E2D1B9-D838-4BC0-829D-3A55B7AE24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094EA-5DB6-4721-9AD1-209F245489D3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60AF9D-D390-4D39-B185-1C17C1556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1E9877-6337-454B-9108-E8AF6E2D1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68453" y="416487"/>
            <a:ext cx="10354910" cy="1428638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559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8113" userDrawn="1">
          <p15:clr>
            <a:srgbClr val="FBAE40"/>
          </p15:clr>
        </p15:guide>
        <p15:guide id="4" orient="horz" pos="210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68453" y="416479"/>
            <a:ext cx="10354912" cy="1428639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68453" y="416487"/>
            <a:ext cx="10354910" cy="142863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559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2114" userDrawn="1">
          <p15:clr>
            <a:srgbClr val="FBAE40"/>
          </p15:clr>
        </p15:guide>
        <p15:guide id="4" orient="horz" pos="811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23" name="Rechteck 22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6380E976-8000-46BF-AD83-2EA599E88B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4277" y="405234"/>
            <a:ext cx="10363262" cy="14308134"/>
          </a:xfrm>
          <a:custGeom>
            <a:avLst/>
            <a:gdLst>
              <a:gd name="connsiteX0" fmla="*/ 0 w 10635615"/>
              <a:gd name="connsiteY0" fmla="*/ 0 h 6490040"/>
              <a:gd name="connsiteX1" fmla="*/ 263407 w 10635615"/>
              <a:gd name="connsiteY1" fmla="*/ 0 h 6490040"/>
              <a:gd name="connsiteX2" fmla="*/ 263407 w 10635615"/>
              <a:gd name="connsiteY2" fmla="*/ 1064094 h 6490040"/>
              <a:gd name="connsiteX3" fmla="*/ 264334 w 10635615"/>
              <a:gd name="connsiteY3" fmla="*/ 1064094 h 6490040"/>
              <a:gd name="connsiteX4" fmla="*/ 2481881 w 10635615"/>
              <a:gd name="connsiteY4" fmla="*/ 1064094 h 6490040"/>
              <a:gd name="connsiteX5" fmla="*/ 2727348 w 10635615"/>
              <a:gd name="connsiteY5" fmla="*/ 1064094 h 6490040"/>
              <a:gd name="connsiteX6" fmla="*/ 2727348 w 10635615"/>
              <a:gd name="connsiteY6" fmla="*/ 0 h 6490040"/>
              <a:gd name="connsiteX7" fmla="*/ 10635615 w 10635615"/>
              <a:gd name="connsiteY7" fmla="*/ 0 h 6490040"/>
              <a:gd name="connsiteX8" fmla="*/ 10635615 w 10635615"/>
              <a:gd name="connsiteY8" fmla="*/ 6490040 h 6490040"/>
              <a:gd name="connsiteX9" fmla="*/ 0 w 10635615"/>
              <a:gd name="connsiteY9" fmla="*/ 6490040 h 649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635615" h="6490040">
                <a:moveTo>
                  <a:pt x="0" y="0"/>
                </a:moveTo>
                <a:lnTo>
                  <a:pt x="263407" y="0"/>
                </a:lnTo>
                <a:lnTo>
                  <a:pt x="263407" y="1064094"/>
                </a:lnTo>
                <a:lnTo>
                  <a:pt x="264334" y="1064094"/>
                </a:lnTo>
                <a:lnTo>
                  <a:pt x="2481881" y="1064094"/>
                </a:lnTo>
                <a:lnTo>
                  <a:pt x="2727348" y="1064094"/>
                </a:lnTo>
                <a:lnTo>
                  <a:pt x="2727348" y="0"/>
                </a:lnTo>
                <a:lnTo>
                  <a:pt x="10635615" y="0"/>
                </a:lnTo>
                <a:lnTo>
                  <a:pt x="10635615" y="6490040"/>
                </a:lnTo>
                <a:lnTo>
                  <a:pt x="0" y="649004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20089" y="9143041"/>
            <a:ext cx="9851293" cy="1194644"/>
          </a:xfrm>
        </p:spPr>
        <p:txBody>
          <a:bodyPr tIns="0" rIns="0" bIns="0" anchor="t" anchorCtr="0">
            <a:noAutofit/>
          </a:bodyPr>
          <a:lstStyle>
            <a:lvl1pPr algn="l">
              <a:defRPr sz="3118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21842" y="10163078"/>
            <a:ext cx="9848910" cy="2476629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118">
                <a:solidFill>
                  <a:schemeClr val="bg1"/>
                </a:solidFill>
              </a:defRPr>
            </a:lvl1pPr>
            <a:lvl2pPr marL="593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87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81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75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69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63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57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51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21842" y="13297961"/>
            <a:ext cx="3155093" cy="84988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16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5535833" y="13297961"/>
            <a:ext cx="4735547" cy="84988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16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</p:txBody>
      </p:sp>
      <p:sp>
        <p:nvSpPr>
          <p:cNvPr id="15" name="Logo">
            <a:extLst>
              <a:ext uri="{FF2B5EF4-FFF2-40B4-BE49-F238E27FC236}">
                <a16:creationId xmlns:a16="http://schemas.microsoft.com/office/drawing/2014/main" id="{1FD81F13-5250-4123-A366-544F9E0C6F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39" y="1"/>
            <a:ext cx="2400845" cy="275116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780"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470" userDrawn="1">
          <p15:clr>
            <a:srgbClr val="FBAE40"/>
          </p15:clr>
        </p15:guide>
        <p15:guide id="2" pos="2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810" y="6635053"/>
            <a:ext cx="9976196" cy="560328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118">
                <a:solidFill>
                  <a:schemeClr val="bg1"/>
                </a:solidFill>
              </a:defRPr>
            </a:lvl1pPr>
            <a:lvl2pPr marL="239241" indent="-2392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2pPr>
            <a:lvl3pPr marL="701226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3pPr>
            <a:lvl4pPr marL="1163210" indent="-233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4pPr>
            <a:lvl5pPr marL="1633443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7810" y="4645596"/>
            <a:ext cx="9976196" cy="211644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2C8DE3CA-3888-4062-A0C8-FFEBEE3946B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6" name="Masterfeld-Info-DE" hidden="1">
            <a:extLst>
              <a:ext uri="{FF2B5EF4-FFF2-40B4-BE49-F238E27FC236}">
                <a16:creationId xmlns:a16="http://schemas.microsoft.com/office/drawing/2014/main" id="{0E4C36D4-5594-4D65-93A3-FD483EAE9AF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7" name="Masterfeld-Class-EN">
            <a:extLst>
              <a:ext uri="{FF2B5EF4-FFF2-40B4-BE49-F238E27FC236}">
                <a16:creationId xmlns:a16="http://schemas.microsoft.com/office/drawing/2014/main" id="{84200EEB-6031-4FF5-A5E0-F9A2EE679B6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3" name="Masterfeld-Class-DE" hidden="1">
            <a:extLst>
              <a:ext uri="{FF2B5EF4-FFF2-40B4-BE49-F238E27FC236}">
                <a16:creationId xmlns:a16="http://schemas.microsoft.com/office/drawing/2014/main" id="{833162C4-953D-4429-875D-2AEA72572C7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F6415A-9B04-4821-98B8-BDFFB68AA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FF74-B48C-4E5B-A137-48E7AA64CB26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71773D-344D-43FB-8804-16A324F09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DF4E10B-BB8A-4C51-B36A-D71C0868B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4" name="Bild 3">
            <a:extLst>
              <a:ext uri="{FF2B5EF4-FFF2-40B4-BE49-F238E27FC236}">
                <a16:creationId xmlns:a16="http://schemas.microsoft.com/office/drawing/2014/main" id="{F1D9920D-7889-4431-A2BD-24EA7AD7AB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31" y="13396119"/>
            <a:ext cx="1866156" cy="12968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  <p15:guide id="3" orient="horz" pos="4261" userDrawn="1">
          <p15:clr>
            <a:srgbClr val="FBAE40"/>
          </p15:clr>
        </p15:guide>
        <p15:guide id="4" orient="horz" pos="771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789" y="6635053"/>
            <a:ext cx="9976218" cy="560328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118">
                <a:solidFill>
                  <a:schemeClr val="tx1"/>
                </a:solidFill>
              </a:defRPr>
            </a:lvl1pPr>
            <a:lvl2pPr marL="239241" indent="-2392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2pPr>
            <a:lvl3pPr marL="701226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3pPr>
            <a:lvl4pPr marL="1163210" indent="-233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4pPr>
            <a:lvl5pPr marL="1633443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7789" y="4645596"/>
            <a:ext cx="9976218" cy="2116444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7" name="Masterfeld-Info-EN">
            <a:extLst>
              <a:ext uri="{FF2B5EF4-FFF2-40B4-BE49-F238E27FC236}">
                <a16:creationId xmlns:a16="http://schemas.microsoft.com/office/drawing/2014/main" id="{78655275-C790-476A-BAD6-757929EC23F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2" name="Masterfeld-Info-DE" hidden="1">
            <a:extLst>
              <a:ext uri="{FF2B5EF4-FFF2-40B4-BE49-F238E27FC236}">
                <a16:creationId xmlns:a16="http://schemas.microsoft.com/office/drawing/2014/main" id="{31855A17-1F33-4354-B81B-1A7E7148D930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3" name="Masterfeld-Class-EN">
            <a:extLst>
              <a:ext uri="{FF2B5EF4-FFF2-40B4-BE49-F238E27FC236}">
                <a16:creationId xmlns:a16="http://schemas.microsoft.com/office/drawing/2014/main" id="{71B967BE-A15C-4D5B-BB64-41A89016C8D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4" name="Masterfeld-Class-DE" hidden="1">
            <a:extLst>
              <a:ext uri="{FF2B5EF4-FFF2-40B4-BE49-F238E27FC236}">
                <a16:creationId xmlns:a16="http://schemas.microsoft.com/office/drawing/2014/main" id="{E5E5E2DE-E793-4714-A047-0C3C20C4EE5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6B87D8-D5B3-4099-BEAC-5DC345732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418416-182A-4140-8438-66589E7E4D0D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B1AD13-5AFD-465D-B2B4-C5227B8A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78D131-3B2E-47E4-8B46-8A903B830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  <p15:guide id="3" orient="horz" pos="7713" userDrawn="1">
          <p15:clr>
            <a:srgbClr val="FBAE40"/>
          </p15:clr>
        </p15:guide>
        <p15:guide id="4" orient="horz" pos="426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811" y="6635053"/>
            <a:ext cx="9976218" cy="560328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3118">
                <a:solidFill>
                  <a:schemeClr val="bg1"/>
                </a:solidFill>
              </a:defRPr>
            </a:lvl1pPr>
            <a:lvl2pPr marL="239241" indent="-2392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2pPr>
            <a:lvl3pPr marL="701226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3pPr>
            <a:lvl4pPr marL="1163210" indent="-233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4pPr>
            <a:lvl5pPr marL="1633443" indent="-230992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11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7811" y="4645596"/>
            <a:ext cx="9976218" cy="2116444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357786" y="13274710"/>
            <a:ext cx="9976219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915033C-7B72-4ECF-8312-44B794E73B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bg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E7A46ED-9DB9-4D35-86BD-022F6B388980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bg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50B9D43-F114-4763-813E-DC8423D20E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AE510CF0-6F86-434A-9BB8-DF02FBD3FF98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bg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EFD976-C5CA-480B-B8F7-E73F2ABBE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22893D-FB66-49FE-A15B-8F112687775A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7827179-6A8A-47F3-8037-7B8C42B45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24F802-7253-49DB-B6FC-6AF989A24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  <p15:guide id="3" orient="horz" pos="4261" userDrawn="1">
          <p15:clr>
            <a:srgbClr val="FBAE40"/>
          </p15:clr>
        </p15:guide>
        <p15:guide id="4" orient="horz" pos="77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20088" y="7135904"/>
            <a:ext cx="9849938" cy="1190502"/>
          </a:xfrm>
        </p:spPr>
        <p:txBody>
          <a:bodyPr tIns="0" rIns="0" bIns="0" anchor="t" anchorCtr="0">
            <a:noAutofit/>
          </a:bodyPr>
          <a:lstStyle>
            <a:lvl1pPr algn="l">
              <a:defRPr sz="3118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20088" y="8151796"/>
            <a:ext cx="9849938" cy="2648038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118">
                <a:solidFill>
                  <a:schemeClr val="tx1"/>
                </a:solidFill>
              </a:defRPr>
            </a:lvl1pPr>
            <a:lvl2pPr marL="593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87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81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75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69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63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57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51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20087" y="13297961"/>
            <a:ext cx="3157031" cy="84988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169" b="0"/>
            </a:lvl1pPr>
          </a:lstStyle>
          <a:p>
            <a:pPr lvl="0"/>
            <a:r>
              <a:rPr lang="en-US" noProof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5535834" y="13297961"/>
            <a:ext cx="4734919" cy="84988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169" b="0"/>
            </a:lvl1pPr>
          </a:lstStyle>
          <a:p>
            <a:pPr lvl="0"/>
            <a:r>
              <a:rPr lang="en-US" noProof="0"/>
              <a:t>Division Naming</a:t>
            </a:r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8DEC2EF3-C206-4F59-8BBA-51F91B0737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0939" y="1"/>
            <a:ext cx="2400845" cy="2751166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780"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470" userDrawn="1">
          <p15:clr>
            <a:srgbClr val="FBAE40"/>
          </p15:clr>
        </p15:guide>
        <p15:guide id="2" pos="2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" name="Masterfeld-Info-EN">
            <a:extLst>
              <a:ext uri="{FF2B5EF4-FFF2-40B4-BE49-F238E27FC236}">
                <a16:creationId xmlns:a16="http://schemas.microsoft.com/office/drawing/2014/main" id="{508B32D7-4A19-49C6-A6EC-9B3342F9936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F562FAD1-703D-4003-A943-1E7AD43A4BF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698F5B20-4E54-413C-ACF4-A6262696850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B86677E7-9AC6-4DFA-B094-72E80D23409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A5E2D15-C009-4FDB-9B00-1548F6BA3A6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6428F0-7403-4A74-AEBA-7114AFB587E7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86E1F51-D643-4C65-8E83-604E901D66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93F323-E16D-49FB-9BEE-1C18713D00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3" name="Bild 3">
            <a:extLst>
              <a:ext uri="{FF2B5EF4-FFF2-40B4-BE49-F238E27FC236}">
                <a16:creationId xmlns:a16="http://schemas.microsoft.com/office/drawing/2014/main" id="{1F488B0F-1F9F-49A5-818F-2871B0BE37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31" y="13396119"/>
            <a:ext cx="1866156" cy="12968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8110" userDrawn="1">
          <p15:clr>
            <a:srgbClr val="FBAE40"/>
          </p15:clr>
        </p15:guide>
        <p15:guide id="4" orient="horz" pos="21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Masterfeld-Info-EN">
            <a:extLst>
              <a:ext uri="{FF2B5EF4-FFF2-40B4-BE49-F238E27FC236}">
                <a16:creationId xmlns:a16="http://schemas.microsoft.com/office/drawing/2014/main" id="{94421FDC-DD4A-4008-A528-87363ADE779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8" name="Masterfeld-Info-DE" hidden="1">
            <a:extLst>
              <a:ext uri="{FF2B5EF4-FFF2-40B4-BE49-F238E27FC236}">
                <a16:creationId xmlns:a16="http://schemas.microsoft.com/office/drawing/2014/main" id="{DCD3598F-65FA-476D-B1AE-80F68191A13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tx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2" name="Masterfeld-Class-EN">
            <a:extLst>
              <a:ext uri="{FF2B5EF4-FFF2-40B4-BE49-F238E27FC236}">
                <a16:creationId xmlns:a16="http://schemas.microsoft.com/office/drawing/2014/main" id="{E5ABAC95-15EC-42D2-B6C0-8983AF76149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3" name="Masterfeld-Class-DE" hidden="1">
            <a:extLst>
              <a:ext uri="{FF2B5EF4-FFF2-40B4-BE49-F238E27FC236}">
                <a16:creationId xmlns:a16="http://schemas.microsoft.com/office/drawing/2014/main" id="{6BFE0D86-B301-4981-8CD8-C688F97CDAF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tx1"/>
                </a:solidFill>
                <a:latin typeface="+mn-lt"/>
              </a:rPr>
              <a:t>Vertrau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E9FE21-E85E-4460-91FB-B12E617286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FD5283D-E5E7-456C-9DCE-F8A03F615AE8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D3DD48-50C0-41D8-8939-2E53BAF0F7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Kerstin Keller © Continental A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543589-2DE3-4888-910D-7382ADCFF6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2109" userDrawn="1">
          <p15:clr>
            <a:srgbClr val="FBAE40"/>
          </p15:clr>
        </p15:guide>
        <p15:guide id="4" orient="horz" pos="811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Weisser Rand"/>
          <p:cNvGrpSpPr/>
          <p:nvPr/>
        </p:nvGrpSpPr>
        <p:grpSpPr>
          <a:xfrm>
            <a:off x="-3683" y="-11905"/>
            <a:ext cx="10699179" cy="1514316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1"/>
              <a:ext cx="9144000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9"/>
              <a:ext cx="9144000" cy="18891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44066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8999935" y="0"/>
              <a:ext cx="144065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78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357786" y="13274710"/>
            <a:ext cx="9976219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5B3E10CC-624F-4C0D-A82B-E13BE873333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bg1"/>
                </a:solidFill>
                <a:latin typeface="+mn-lt"/>
              </a:rPr>
              <a:t>Space for individual information</a:t>
            </a: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B9C15F2-80F4-4A54-AD81-7236288FA28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724036" y="13647190"/>
            <a:ext cx="3226377" cy="331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1163908"/>
            <a:r>
              <a:rPr lang="de-DE" sz="878" b="1" noProof="0">
                <a:solidFill>
                  <a:schemeClr val="bg1"/>
                </a:solidFill>
                <a:latin typeface="+mn-lt"/>
              </a:rPr>
              <a:t>Individueller Informationsbereich</a:t>
            </a: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76110987-60CE-44B8-A63A-DDCE4ED9110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7870C0E-9E84-4FC2-A07C-9A113A3C216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724038" y="13978857"/>
            <a:ext cx="3226377" cy="33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1163908"/>
            <a:r>
              <a:rPr lang="de-DE" sz="878" noProof="0">
                <a:solidFill>
                  <a:schemeClr val="bg1"/>
                </a:solidFill>
                <a:latin typeface="+mn-lt"/>
              </a:rPr>
              <a:t>Vertrau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2DFF7A-1236-45A6-ACE4-75231ABABA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CCD26D-6CC7-47C0-B49D-E6125D757A00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1B5F2B-696D-4DE1-BB26-30ED340A4B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Kerstin Keller © Continental A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5E1E73-D2B4-4E9D-8CDE-9AC3F0D510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  <p15:guide id="3" orient="horz" pos="2114" userDrawn="1">
          <p15:clr>
            <a:srgbClr val="FBAE40"/>
          </p15:clr>
        </p15:guide>
        <p15:guide id="4" orient="horz" pos="811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168453" y="416484"/>
            <a:ext cx="10354910" cy="1428638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64" noProof="0">
              <a:solidFill>
                <a:schemeClr val="bg1"/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788" y="9623680"/>
            <a:ext cx="9976216" cy="2063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68453" y="416479"/>
            <a:ext cx="10354912" cy="1428639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788" y="9623680"/>
            <a:ext cx="9976216" cy="206352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25" userDrawn="1">
          <p15:clr>
            <a:srgbClr val="FBAE40"/>
          </p15:clr>
        </p15:guide>
        <p15:guide id="2" pos="651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168453" y="416484"/>
            <a:ext cx="10354910" cy="14286386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64" noProof="0">
              <a:solidFill>
                <a:schemeClr val="bg1"/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788" y="9623680"/>
            <a:ext cx="9976216" cy="206352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510" userDrawn="1">
          <p15:clr>
            <a:srgbClr val="FBAE40"/>
          </p15:clr>
        </p15:guide>
        <p15:guide id="2" pos="22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>
            <a:cxnSpLocks/>
          </p:cNvCxnSpPr>
          <p:nvPr/>
        </p:nvCxnSpPr>
        <p:spPr>
          <a:xfrm>
            <a:off x="357786" y="13274710"/>
            <a:ext cx="9976219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7788" y="836653"/>
            <a:ext cx="9976216" cy="2063520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7787" y="3352781"/>
            <a:ext cx="9976216" cy="9526076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5"/>
            <a:r>
              <a:rPr lang="en-US" noProof="0" err="1"/>
              <a:t>Sechs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6"/>
            <a:r>
              <a:rPr lang="en-US" noProof="0" err="1"/>
              <a:t>Sieb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7"/>
            <a:r>
              <a:rPr lang="en-US" noProof="0" err="1"/>
              <a:t>Ach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8"/>
            <a:r>
              <a:rPr lang="en-US" noProof="0" err="1"/>
              <a:t>Neun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7114080" y="13647192"/>
            <a:ext cx="2734617" cy="33166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878">
                <a:solidFill>
                  <a:schemeClr val="tx1"/>
                </a:solidFill>
                <a:latin typeface="+mn-lt"/>
              </a:defRPr>
            </a:lvl1pPr>
          </a:lstStyle>
          <a:p>
            <a:fld id="{683FB2C8-4EF4-45A1-8011-421F8190FDF0}" type="datetime1">
              <a:rPr lang="en-US" smtClean="0"/>
              <a:pPr/>
              <a:t>11/4/2022</a:t>
            </a:fld>
            <a:endParaRPr lang="en-US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9892537" y="13978798"/>
            <a:ext cx="441468" cy="331664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878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empower - DO NOT DELETE!!!"/>
          <p:cNvSpPr/>
          <p:nvPr>
            <p:custDataLst>
              <p:tags r:id="rId2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78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78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4080" y="13976471"/>
            <a:ext cx="2734617" cy="3316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78">
                <a:solidFill>
                  <a:schemeClr val="tx1"/>
                </a:solidFill>
              </a:defRPr>
            </a:lvl1pPr>
          </a:lstStyle>
          <a:p>
            <a:r>
              <a:rPr lang="en-US"/>
              <a:t>Kerstin Keller © Continental AG</a:t>
            </a:r>
          </a:p>
        </p:txBody>
      </p:sp>
      <p:pic>
        <p:nvPicPr>
          <p:cNvPr id="15" name="Bild 4">
            <a:extLst>
              <a:ext uri="{FF2B5EF4-FFF2-40B4-BE49-F238E27FC236}">
                <a16:creationId xmlns:a16="http://schemas.microsoft.com/office/drawing/2014/main" id="{30766679-0E38-4E61-87E6-1B3488ED2E84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23931" y="13395726"/>
            <a:ext cx="1866726" cy="12972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4" r:id="rId21"/>
    <p:sldLayoutId id="2147483775" r:id="rId22"/>
    <p:sldLayoutId id="2147483776" r:id="rId23"/>
  </p:sldLayoutIdLst>
  <p:transition>
    <p:fade/>
  </p:transition>
  <p:hf hdr="0"/>
  <p:txStyles>
    <p:titleStyle>
      <a:lvl1pPr algn="l" defTabSz="1187960" rtl="0" eaLnBrk="1" latinLnBrk="0" hangingPunct="1">
        <a:lnSpc>
          <a:spcPct val="95000"/>
        </a:lnSpc>
        <a:spcBef>
          <a:spcPct val="0"/>
        </a:spcBef>
        <a:buNone/>
        <a:defRPr sz="3118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6342" indent="-176342" algn="l" defTabSz="1187960" rtl="0" eaLnBrk="1" latinLnBrk="0" hangingPunct="1">
        <a:lnSpc>
          <a:spcPct val="100000"/>
        </a:lnSpc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itchFamily="34" charset="0"/>
        <a:buChar char="›"/>
        <a:defRPr sz="1949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50784" indent="-176342" algn="l" defTabSz="1187960" rtl="0" eaLnBrk="1" latinLnBrk="0" hangingPunct="1">
        <a:lnSpc>
          <a:spcPct val="100000"/>
        </a:lnSpc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itchFamily="34" charset="0"/>
        <a:buChar char="›"/>
        <a:defRPr sz="1949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26176" indent="-175392" algn="l" defTabSz="1187960" rtl="0" eaLnBrk="1" latinLnBrk="0" hangingPunct="1">
        <a:lnSpc>
          <a:spcPct val="100000"/>
        </a:lnSpc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itchFamily="34" charset="0"/>
        <a:buChar char="›"/>
        <a:defRPr sz="1949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01568" indent="-176342" algn="l" defTabSz="1187960" rtl="0" eaLnBrk="1" latinLnBrk="0" hangingPunct="1">
        <a:lnSpc>
          <a:spcPct val="100000"/>
        </a:lnSpc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itchFamily="34" charset="0"/>
        <a:buChar char="›"/>
        <a:defRPr sz="1949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75522" indent="-176342" algn="l" defTabSz="1187960" rtl="0" eaLnBrk="1" latinLnBrk="0" hangingPunct="1">
        <a:lnSpc>
          <a:spcPct val="100000"/>
        </a:lnSpc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itchFamily="34" charset="0"/>
        <a:buChar char="›"/>
        <a:defRPr sz="1949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876960" indent="-175392" algn="l" defTabSz="1187960" rtl="0" eaLnBrk="1" latinLnBrk="0" hangingPunct="1"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949" kern="1200">
          <a:solidFill>
            <a:schemeClr val="tx1"/>
          </a:solidFill>
          <a:latin typeface="+mn-lt"/>
          <a:ea typeface="+mn-ea"/>
          <a:cs typeface="+mn-cs"/>
        </a:defRPr>
      </a:lvl6pPr>
      <a:lvl7pPr marL="876960" indent="-175392" algn="l" defTabSz="1187960" rtl="0" eaLnBrk="1" latinLnBrk="0" hangingPunct="1"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949" kern="1200">
          <a:solidFill>
            <a:schemeClr val="tx1"/>
          </a:solidFill>
          <a:latin typeface="+mn-lt"/>
          <a:ea typeface="+mn-ea"/>
          <a:cs typeface="+mn-cs"/>
        </a:defRPr>
      </a:lvl7pPr>
      <a:lvl8pPr marL="876960" indent="-175392" algn="l" defTabSz="1187960" rtl="0" eaLnBrk="1" latinLnBrk="0" hangingPunct="1"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949" kern="1200">
          <a:solidFill>
            <a:schemeClr val="tx1"/>
          </a:solidFill>
          <a:latin typeface="+mn-lt"/>
          <a:ea typeface="+mn-ea"/>
          <a:cs typeface="+mn-cs"/>
        </a:defRPr>
      </a:lvl8pPr>
      <a:lvl9pPr marL="876960" indent="-175392" algn="l" defTabSz="1187960" rtl="0" eaLnBrk="1" latinLnBrk="0" hangingPunct="1">
        <a:spcBef>
          <a:spcPts val="0"/>
        </a:spcBef>
        <a:spcAft>
          <a:spcPts val="1559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9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1pPr>
      <a:lvl2pPr marL="593980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2pPr>
      <a:lvl3pPr marL="1187960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3pPr>
      <a:lvl4pPr marL="1781938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4pPr>
      <a:lvl5pPr marL="2375918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5pPr>
      <a:lvl6pPr marL="2969898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6pPr>
      <a:lvl7pPr marL="3563876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7pPr>
      <a:lvl8pPr marL="4157855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8pPr>
      <a:lvl9pPr marL="4751835" algn="l" defTabSz="1187960" rtl="0" eaLnBrk="1" latinLnBrk="0" hangingPunct="1">
        <a:defRPr sz="23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2" userDrawn="1">
          <p15:clr>
            <a:srgbClr val="F26B43"/>
          </p15:clr>
        </p15:guide>
        <p15:guide id="2" pos="106" userDrawn="1">
          <p15:clr>
            <a:srgbClr val="F26B43"/>
          </p15:clr>
        </p15:guide>
        <p15:guide id="3" pos="6629" userDrawn="1">
          <p15:clr>
            <a:srgbClr val="F26B43"/>
          </p15:clr>
        </p15:guide>
        <p15:guide id="4" orient="horz" pos="92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26" Type="http://schemas.openxmlformats.org/officeDocument/2006/relationships/image" Target="../media/image25.svg"/><Relationship Id="rId3" Type="http://schemas.openxmlformats.org/officeDocument/2006/relationships/image" Target="../media/image4.png"/><Relationship Id="rId21" Type="http://schemas.openxmlformats.org/officeDocument/2006/relationships/image" Target="../media/image20.svg"/><Relationship Id="rId7" Type="http://schemas.microsoft.com/office/2007/relationships/hdphoto" Target="../media/hdphoto1.wdp"/><Relationship Id="rId12" Type="http://schemas.openxmlformats.org/officeDocument/2006/relationships/image" Target="../media/image11.emf"/><Relationship Id="rId17" Type="http://schemas.openxmlformats.org/officeDocument/2006/relationships/image" Target="../media/image16.svg"/><Relationship Id="rId25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20" Type="http://schemas.openxmlformats.org/officeDocument/2006/relationships/image" Target="../media/image19.svg"/><Relationship Id="rId29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11" Type="http://schemas.openxmlformats.org/officeDocument/2006/relationships/image" Target="../media/image10.emf"/><Relationship Id="rId24" Type="http://schemas.openxmlformats.org/officeDocument/2006/relationships/image" Target="../media/image23.svg"/><Relationship Id="rId32" Type="http://schemas.openxmlformats.org/officeDocument/2006/relationships/image" Target="../media/image31.svg"/><Relationship Id="rId5" Type="http://schemas.openxmlformats.org/officeDocument/2006/relationships/image" Target="../media/image6.png"/><Relationship Id="rId15" Type="http://schemas.openxmlformats.org/officeDocument/2006/relationships/image" Target="../media/image14.svg"/><Relationship Id="rId23" Type="http://schemas.openxmlformats.org/officeDocument/2006/relationships/image" Target="../media/image22.png"/><Relationship Id="rId28" Type="http://schemas.openxmlformats.org/officeDocument/2006/relationships/image" Target="../media/image27.sv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31" Type="http://schemas.openxmlformats.org/officeDocument/2006/relationships/image" Target="../media/image30.png"/><Relationship Id="rId4" Type="http://schemas.openxmlformats.org/officeDocument/2006/relationships/image" Target="../media/image5.png"/><Relationship Id="rId9" Type="http://schemas.microsoft.com/office/2007/relationships/hdphoto" Target="../media/hdphoto2.wdp"/><Relationship Id="rId14" Type="http://schemas.openxmlformats.org/officeDocument/2006/relationships/image" Target="../media/image13.png"/><Relationship Id="rId22" Type="http://schemas.openxmlformats.org/officeDocument/2006/relationships/image" Target="../media/image21.svg"/><Relationship Id="rId27" Type="http://schemas.openxmlformats.org/officeDocument/2006/relationships/image" Target="../media/image26.png"/><Relationship Id="rId30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8B38332-89C1-4A58-B953-54652FA6A129}"/>
              </a:ext>
            </a:extLst>
          </p:cNvPr>
          <p:cNvGrpSpPr>
            <a:grpSpLocks noChangeAspect="1"/>
          </p:cNvGrpSpPr>
          <p:nvPr/>
        </p:nvGrpSpPr>
        <p:grpSpPr>
          <a:xfrm>
            <a:off x="647265" y="5955926"/>
            <a:ext cx="4297704" cy="3567946"/>
            <a:chOff x="2807354" y="4916723"/>
            <a:chExt cx="3986491" cy="3309578"/>
          </a:xfrm>
        </p:grpSpPr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2A45A95E-7FC5-4094-9DD5-EB5A151CCE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tretch/>
          </p:blipFill>
          <p:spPr>
            <a:xfrm>
              <a:off x="2807354" y="5379700"/>
              <a:ext cx="3986491" cy="2042200"/>
            </a:xfrm>
            <a:prstGeom prst="ellipse">
              <a:avLst/>
            </a:prstGeom>
            <a:effectLst>
              <a:softEdge rad="444500"/>
            </a:effectLst>
          </p:spPr>
        </p:pic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7D291936-5637-4232-8B37-9D6677B74992}"/>
                </a:ext>
              </a:extLst>
            </p:cNvPr>
            <p:cNvCxnSpPr>
              <a:cxnSpLocks/>
            </p:cNvCxnSpPr>
            <p:nvPr/>
          </p:nvCxnSpPr>
          <p:spPr>
            <a:xfrm>
              <a:off x="4071571" y="5752275"/>
              <a:ext cx="161835" cy="441581"/>
            </a:xfrm>
            <a:prstGeom prst="straightConnector1">
              <a:avLst/>
            </a:prstGeom>
            <a:ln w="2222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15457145-ECCC-44B0-94FA-6C2EE7A391ED}"/>
                </a:ext>
              </a:extLst>
            </p:cNvPr>
            <p:cNvGrpSpPr/>
            <p:nvPr/>
          </p:nvGrpSpPr>
          <p:grpSpPr>
            <a:xfrm>
              <a:off x="2878624" y="5316252"/>
              <a:ext cx="1734507" cy="646505"/>
              <a:chOff x="-2399411" y="2803877"/>
              <a:chExt cx="2557367" cy="937648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36320370-6D82-460D-A93D-6CB4A9A500C6}"/>
                  </a:ext>
                </a:extLst>
              </p:cNvPr>
              <p:cNvSpPr/>
              <p:nvPr/>
            </p:nvSpPr>
            <p:spPr>
              <a:xfrm>
                <a:off x="-2399411" y="2803877"/>
                <a:ext cx="2557367" cy="937648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9525">
                <a:noFill/>
              </a:ln>
              <a:effectLst>
                <a:softEdge rad="12700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4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5" name="Picture 2">
                <a:extLst>
                  <a:ext uri="{FF2B5EF4-FFF2-40B4-BE49-F238E27FC236}">
                    <a16:creationId xmlns:a16="http://schemas.microsoft.com/office/drawing/2014/main" id="{250AB94A-BCE7-42CF-A39F-FDFDC467E2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-1076729" y="3126572"/>
                <a:ext cx="888781" cy="3096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73061E43-211C-458F-B6E0-38B46E5CC4DF}"/>
                  </a:ext>
                </a:extLst>
              </p:cNvPr>
              <p:cNvSpPr txBox="1"/>
              <p:nvPr/>
            </p:nvSpPr>
            <p:spPr>
              <a:xfrm>
                <a:off x="-2182785" y="3087321"/>
                <a:ext cx="881755" cy="3316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2"/>
                  <a:t>Camera</a:t>
                </a:r>
              </a:p>
            </p:txBody>
          </p:sp>
        </p:grp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62BC76CF-080D-4506-A7B5-E35AE76DBA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8577" y="7041293"/>
              <a:ext cx="121468" cy="130204"/>
            </a:xfrm>
            <a:prstGeom prst="straightConnector1">
              <a:avLst/>
            </a:prstGeom>
            <a:ln w="2222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862F4880-CE0E-4A99-9C63-BE0DA6E4A8DB}"/>
                </a:ext>
              </a:extLst>
            </p:cNvPr>
            <p:cNvGrpSpPr/>
            <p:nvPr/>
          </p:nvGrpSpPr>
          <p:grpSpPr>
            <a:xfrm>
              <a:off x="2918902" y="6996495"/>
              <a:ext cx="1434488" cy="626717"/>
              <a:chOff x="-2418265" y="3979351"/>
              <a:chExt cx="2156000" cy="937648"/>
            </a:xfrm>
          </p:grpSpPr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DD2D00F0-1F88-4B65-B1E5-6C2DC3E9DFD9}"/>
                  </a:ext>
                </a:extLst>
              </p:cNvPr>
              <p:cNvSpPr/>
              <p:nvPr/>
            </p:nvSpPr>
            <p:spPr>
              <a:xfrm>
                <a:off x="-2418265" y="3979351"/>
                <a:ext cx="2156000" cy="937648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9525">
                <a:noFill/>
              </a:ln>
              <a:effectLst>
                <a:softEdge rad="12700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4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80ABF11D-534F-4870-BA97-D4D1CD66B0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55636" y="4093837"/>
                <a:ext cx="769804" cy="663056"/>
              </a:xfrm>
              <a:prstGeom prst="rect">
                <a:avLst/>
              </a:prstGeom>
            </p:spPr>
          </p:pic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7F939E7F-4DB8-4978-9BA5-0C3CD0FE419F}"/>
                  </a:ext>
                </a:extLst>
              </p:cNvPr>
              <p:cNvSpPr txBox="1"/>
              <p:nvPr/>
            </p:nvSpPr>
            <p:spPr>
              <a:xfrm>
                <a:off x="-2219473" y="4241176"/>
                <a:ext cx="749109" cy="3421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2"/>
                  <a:t>Radar</a:t>
                </a:r>
              </a:p>
            </p:txBody>
          </p:sp>
        </p:grpSp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EEA9749E-4D2F-4DD4-AA38-FC5C48DBFF0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13358" y="7143325"/>
              <a:ext cx="348009" cy="607681"/>
            </a:xfrm>
            <a:prstGeom prst="straightConnector1">
              <a:avLst/>
            </a:prstGeom>
            <a:ln w="2222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1BFE0CF-964B-4F93-B154-58194037DDD9}"/>
                </a:ext>
              </a:extLst>
            </p:cNvPr>
            <p:cNvGrpSpPr/>
            <p:nvPr/>
          </p:nvGrpSpPr>
          <p:grpSpPr>
            <a:xfrm>
              <a:off x="3745878" y="7592721"/>
              <a:ext cx="1701536" cy="633580"/>
              <a:chOff x="-2439041" y="1981605"/>
              <a:chExt cx="2557367" cy="947916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87784C98-A584-4386-A980-50539A8960A5}"/>
                  </a:ext>
                </a:extLst>
              </p:cNvPr>
              <p:cNvSpPr/>
              <p:nvPr/>
            </p:nvSpPr>
            <p:spPr>
              <a:xfrm>
                <a:off x="-2439041" y="1981605"/>
                <a:ext cx="2557367" cy="937648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9525">
                <a:noFill/>
              </a:ln>
              <a:effectLst>
                <a:softEdge rad="12700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4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DF881CDF-88FB-436D-A967-D18E7CF7B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-1076729" y="2038349"/>
                <a:ext cx="846844" cy="891172"/>
              </a:xfrm>
              <a:prstGeom prst="rect">
                <a:avLst/>
              </a:prstGeom>
            </p:spPr>
          </p:pic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E48B3685-EFB8-4B82-B0C7-08F3E6EC4F95}"/>
                  </a:ext>
                </a:extLst>
              </p:cNvPr>
              <p:cNvSpPr txBox="1"/>
              <p:nvPr/>
            </p:nvSpPr>
            <p:spPr>
              <a:xfrm>
                <a:off x="-2198613" y="2266238"/>
                <a:ext cx="659715" cy="3421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2"/>
                  <a:t>Lidar</a:t>
                </a:r>
              </a:p>
            </p:txBody>
          </p:sp>
        </p:grp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ACFA7E61-B00A-45B1-AB8E-CECFE90028F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32009" y="5316252"/>
              <a:ext cx="491587" cy="534167"/>
            </a:xfrm>
            <a:prstGeom prst="straightConnector1">
              <a:avLst/>
            </a:prstGeom>
            <a:ln w="2222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C09968E0-598A-49AB-855C-46830FC57C5D}"/>
                </a:ext>
              </a:extLst>
            </p:cNvPr>
            <p:cNvGrpSpPr/>
            <p:nvPr/>
          </p:nvGrpSpPr>
          <p:grpSpPr>
            <a:xfrm>
              <a:off x="4673494" y="4916723"/>
              <a:ext cx="1932555" cy="626717"/>
              <a:chOff x="-2748849" y="2248379"/>
              <a:chExt cx="2904583" cy="937648"/>
            </a:xfrm>
          </p:grpSpPr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936B29D3-F3F8-4255-A587-BEFCEB710D54}"/>
                  </a:ext>
                </a:extLst>
              </p:cNvPr>
              <p:cNvSpPr/>
              <p:nvPr/>
            </p:nvSpPr>
            <p:spPr>
              <a:xfrm>
                <a:off x="-2748849" y="2248379"/>
                <a:ext cx="2904583" cy="937648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9525">
                <a:noFill/>
              </a:ln>
              <a:effectLst>
                <a:softEdge rad="12700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4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4C441364-191E-49BD-A29B-B09F0CC723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10000" b="90000" l="10000" r="90000">
                            <a14:foregroundMark x1="18854" y1="41914" x2="18854" y2="41914"/>
                            <a14:foregroundMark x1="14081" y1="41914" x2="14081" y2="41914"/>
                            <a14:foregroundMark x1="17422" y1="41584" x2="17422" y2="41584"/>
                            <a14:foregroundMark x1="15752" y1="41914" x2="15752" y2="41914"/>
                            <a14:foregroundMark x1="79236" y1="37624" x2="79236" y2="37624"/>
                            <a14:foregroundMark x1="78759" y1="37624" x2="78759" y2="37624"/>
                            <a14:foregroundMark x1="78282" y1="37954" x2="78282" y2="37954"/>
                            <a14:foregroundMark x1="78282" y1="37954" x2="78282" y2="37954"/>
                            <a14:foregroundMark x1="79714" y1="36634" x2="79714" y2="36634"/>
                            <a14:foregroundMark x1="78759" y1="38944" x2="78759" y2="38944"/>
                            <a14:foregroundMark x1="78282" y1="38944" x2="78282" y2="38944"/>
                            <a14:foregroundMark x1="78282" y1="38944" x2="78282" y2="38944"/>
                            <a14:foregroundMark x1="78282" y1="38284" x2="78282" y2="38284"/>
                            <a14:foregroundMark x1="78282" y1="38284" x2="78282" y2="38284"/>
                            <a14:foregroundMark x1="78282" y1="38284" x2="78282" y2="38284"/>
                            <a14:foregroundMark x1="78282" y1="38284" x2="78759" y2="36964"/>
                            <a14:foregroundMark x1="78759" y1="36964" x2="78759" y2="36964"/>
                            <a14:foregroundMark x1="77804" y1="37624" x2="77804" y2="37624"/>
                            <a14:foregroundMark x1="77804" y1="38944" x2="78520" y2="39274"/>
                            <a14:foregroundMark x1="78520" y1="39274" x2="78520" y2="39274"/>
                            <a14:foregroundMark x1="78520" y1="39274" x2="78520" y2="39274"/>
                            <a14:foregroundMark x1="78759" y1="38614" x2="78759" y2="38614"/>
                            <a14:foregroundMark x1="78998" y1="38284" x2="78998" y2="38284"/>
                            <a14:foregroundMark x1="78998" y1="37954" x2="77566" y2="37954"/>
                            <a14:foregroundMark x1="77327" y1="37954" x2="77327" y2="37954"/>
                            <a14:foregroundMark x1="77327" y1="37954" x2="78043" y2="37954"/>
                            <a14:foregroundMark x1="78759" y1="37954" x2="78759" y2="37954"/>
                            <a14:foregroundMark x1="78759" y1="37954" x2="78759" y2="37954"/>
                            <a14:foregroundMark x1="77566" y1="38284" x2="77566" y2="38284"/>
                            <a14:foregroundMark x1="77566" y1="38284" x2="77566" y2="38284"/>
                            <a14:foregroundMark x1="78998" y1="38614" x2="78998" y2="38614"/>
                            <a14:foregroundMark x1="54893" y1="31353" x2="54893" y2="30363"/>
                            <a14:foregroundMark x1="54893" y1="30033" x2="54893" y2="30033"/>
                            <a14:foregroundMark x1="55370" y1="30033" x2="55370" y2="30033"/>
                            <a14:backgroundMark x1="43198" y1="70957" x2="43198" y2="70957"/>
                            <a14:backgroundMark x1="39141" y1="70297" x2="39141" y2="7029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055957" y="2280390"/>
                <a:ext cx="1155520" cy="835901"/>
              </a:xfrm>
              <a:prstGeom prst="rect">
                <a:avLst/>
              </a:prstGeom>
              <a:effectLst/>
            </p:spPr>
          </p:pic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148D2C66-1284-42A5-A3B0-D10341772881}"/>
                  </a:ext>
                </a:extLst>
              </p:cNvPr>
              <p:cNvSpPr txBox="1"/>
              <p:nvPr/>
            </p:nvSpPr>
            <p:spPr>
              <a:xfrm>
                <a:off x="-2573815" y="2437853"/>
                <a:ext cx="1736894" cy="5561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2"/>
                  <a:t>Automated Driving</a:t>
                </a:r>
              </a:p>
              <a:p>
                <a:r>
                  <a:rPr lang="en-US" sz="1002"/>
                  <a:t>Control Unit</a:t>
                </a:r>
              </a:p>
            </p:txBody>
          </p:sp>
        </p:grp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CF4E3B68-BCEE-4653-8B65-3D93701278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93506" y="6630088"/>
              <a:ext cx="578408" cy="499656"/>
            </a:xfrm>
            <a:prstGeom prst="straightConnector1">
              <a:avLst/>
            </a:prstGeom>
            <a:ln w="2222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C328DA76-E8F0-4321-AAF4-FACF349718C0}"/>
                </a:ext>
              </a:extLst>
            </p:cNvPr>
            <p:cNvGrpSpPr/>
            <p:nvPr/>
          </p:nvGrpSpPr>
          <p:grpSpPr>
            <a:xfrm>
              <a:off x="5293757" y="6966004"/>
              <a:ext cx="1338980" cy="626717"/>
              <a:chOff x="-2748849" y="2248379"/>
              <a:chExt cx="2904583" cy="937648"/>
            </a:xfrm>
          </p:grpSpPr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D221DB24-FFB1-4871-88C0-BBD76DEEBE3E}"/>
                  </a:ext>
                </a:extLst>
              </p:cNvPr>
              <p:cNvSpPr/>
              <p:nvPr/>
            </p:nvSpPr>
            <p:spPr>
              <a:xfrm>
                <a:off x="-2748849" y="2248379"/>
                <a:ext cx="2904583" cy="937648"/>
              </a:xfrm>
              <a:prstGeom prst="rect">
                <a:avLst/>
              </a:prstGeom>
              <a:solidFill>
                <a:schemeClr val="bg1">
                  <a:alpha val="66000"/>
                </a:schemeClr>
              </a:solidFill>
              <a:ln w="9525">
                <a:noFill/>
              </a:ln>
              <a:effectLst>
                <a:softEdge rad="12700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4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9F29651A-82E8-4955-A0BF-6A65C77E080D}"/>
                  </a:ext>
                </a:extLst>
              </p:cNvPr>
              <p:cNvSpPr txBox="1"/>
              <p:nvPr/>
            </p:nvSpPr>
            <p:spPr>
              <a:xfrm>
                <a:off x="-2491740" y="2422399"/>
                <a:ext cx="1591165" cy="5561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2"/>
                  <a:t>Recording</a:t>
                </a:r>
              </a:p>
              <a:p>
                <a:r>
                  <a:rPr lang="en-US" sz="1002"/>
                  <a:t>System</a:t>
                </a:r>
              </a:p>
            </p:txBody>
          </p:sp>
        </p:grpSp>
        <p:pic>
          <p:nvPicPr>
            <p:cNvPr id="36" name="Grafik 35" descr="Ein Bild, das Festplatte, Elektronik, Spiel, Controller enthält.&#10;&#10;Automatisch generierte Beschreibung">
              <a:extLst>
                <a:ext uri="{FF2B5EF4-FFF2-40B4-BE49-F238E27FC236}">
                  <a16:creationId xmlns:a16="http://schemas.microsoft.com/office/drawing/2014/main" id="{200F6FB4-0D69-4EDD-AA0F-84E9437DA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15396" y="7107480"/>
              <a:ext cx="336115" cy="336115"/>
            </a:xfrm>
            <a:prstGeom prst="rect">
              <a:avLst/>
            </a:prstGeom>
          </p:spPr>
        </p:pic>
      </p:grpSp>
      <p:sp>
        <p:nvSpPr>
          <p:cNvPr id="39" name="Inhaltsplatzhalter 38">
            <a:extLst>
              <a:ext uri="{FF2B5EF4-FFF2-40B4-BE49-F238E27FC236}">
                <a16:creationId xmlns:a16="http://schemas.microsoft.com/office/drawing/2014/main" id="{D50C17AA-0CC0-4052-876B-CFBB9AF5CAB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65719" y="6079600"/>
            <a:ext cx="4893454" cy="3404575"/>
          </a:xfrm>
        </p:spPr>
        <p:txBody>
          <a:bodyPr>
            <a:noAutofit/>
          </a:bodyPr>
          <a:lstStyle/>
          <a:p>
            <a:pPr marL="190927" indent="-190927"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r>
              <a:rPr lang="en-US" sz="1559" b="1">
                <a:solidFill>
                  <a:schemeClr val="bg1"/>
                </a:solidFill>
              </a:rPr>
              <a:t>eCAL connects distributed components</a:t>
            </a:r>
          </a:p>
          <a:p>
            <a:pPr marL="190927" indent="-190927">
              <a:spcBef>
                <a:spcPts val="334"/>
              </a:spcBef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r>
              <a:rPr lang="en-US" sz="1559" b="1">
                <a:solidFill>
                  <a:srgbClr val="FFFFFF"/>
                </a:solidFill>
              </a:rPr>
              <a:t>eCAL package includes:</a:t>
            </a:r>
          </a:p>
          <a:p>
            <a:pPr marL="668045" lvl="2" indent="-318211">
              <a:defRPr/>
            </a:pPr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eCAL</a:t>
            </a:r>
            <a:r>
              <a:rPr lang="en-US" sz="1559" b="1">
                <a:solidFill>
                  <a:srgbClr val="FFFFFF"/>
                </a:solidFill>
              </a:rPr>
              <a:t> </a:t>
            </a:r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Core</a:t>
            </a:r>
            <a:r>
              <a:rPr lang="en-US" sz="1559" b="1">
                <a:solidFill>
                  <a:srgbClr val="FFFFFF"/>
                </a:solidFill>
              </a:rPr>
              <a:t> 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communication</a:t>
            </a:r>
            <a:r>
              <a:rPr lang="en-US" sz="1559" b="1">
                <a:solidFill>
                  <a:srgbClr val="FFFFFF"/>
                </a:solidFill>
              </a:rPr>
              <a:t> 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library</a:t>
            </a:r>
          </a:p>
          <a:p>
            <a:pPr marL="668045" lvl="2" indent="-318211">
              <a:defRPr/>
            </a:pPr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eCAL Mon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 for introspection and debugging</a:t>
            </a:r>
          </a:p>
          <a:p>
            <a:pPr marL="668045" lvl="2" indent="-318211"/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eCAL Rec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 for recording live data</a:t>
            </a:r>
          </a:p>
          <a:p>
            <a:pPr marL="668045" lvl="2" indent="-318211"/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eCAL Play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 for replaying data</a:t>
            </a:r>
          </a:p>
          <a:p>
            <a:pPr marL="668045" lvl="2" indent="-318211"/>
            <a:r>
              <a:rPr lang="en-US" sz="1559" b="1">
                <a:solidFill>
                  <a:schemeClr val="bg1">
                    <a:lumMod val="75000"/>
                  </a:schemeClr>
                </a:solidFill>
              </a:rPr>
              <a:t>eCAL Sys</a:t>
            </a:r>
            <a:r>
              <a:rPr lang="en-US" sz="1559">
                <a:solidFill>
                  <a:schemeClr val="bg1">
                    <a:lumMod val="75000"/>
                  </a:schemeClr>
                </a:solidFill>
              </a:rPr>
              <a:t> for managing in-vehicle startups</a:t>
            </a:r>
          </a:p>
          <a:p>
            <a:pPr marL="190927" indent="-190927">
              <a:spcBef>
                <a:spcPts val="334"/>
              </a:spcBef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r>
              <a:rPr lang="en-US" sz="1559" b="1">
                <a:solidFill>
                  <a:schemeClr val="bg1"/>
                </a:solidFill>
              </a:rPr>
              <a:t>Develop components with C, C++, C# &amp; Python</a:t>
            </a:r>
          </a:p>
          <a:p>
            <a:pPr marL="190927" indent="-190927">
              <a:spcBef>
                <a:spcPts val="334"/>
              </a:spcBef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endParaRPr lang="en-US" sz="1782" b="1">
              <a:solidFill>
                <a:schemeClr val="bg1"/>
              </a:solidFill>
            </a:endParaRPr>
          </a:p>
          <a:p>
            <a:pPr marL="190927" indent="-190927">
              <a:spcBef>
                <a:spcPts val="334"/>
              </a:spcBef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endParaRPr lang="en-US" sz="1782" b="1">
              <a:solidFill>
                <a:schemeClr val="bg1"/>
              </a:solidFill>
            </a:endParaRPr>
          </a:p>
          <a:p>
            <a:pPr marL="525623" indent="-190927">
              <a:spcAft>
                <a:spcPts val="1225"/>
              </a:spcAft>
              <a:buFont typeface="Arial" panose="020B0604020202020204" pitchFamily="34" charset="0"/>
              <a:buChar char="•"/>
              <a:defRPr/>
            </a:pPr>
            <a:endParaRPr lang="en-US" sz="1782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79CBA954-116D-4D3D-BE30-EA3F10E2DE57}"/>
              </a:ext>
            </a:extLst>
          </p:cNvPr>
          <p:cNvSpPr txBox="1"/>
          <p:nvPr/>
        </p:nvSpPr>
        <p:spPr>
          <a:xfrm>
            <a:off x="4803421" y="4072531"/>
            <a:ext cx="6606281" cy="91499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2673" b="1">
                <a:solidFill>
                  <a:schemeClr val="accent1"/>
                </a:solidFill>
                <a:latin typeface="Arial" panose="020B0604020202020204" pitchFamily="34" charset="0"/>
              </a:rPr>
              <a:t>e</a:t>
            </a:r>
            <a:r>
              <a:rPr lang="en-US" sz="2673">
                <a:solidFill>
                  <a:schemeClr val="accent1"/>
                </a:solidFill>
                <a:latin typeface="Arial" panose="020B0604020202020204" pitchFamily="34" charset="0"/>
              </a:rPr>
              <a:t>nhanced </a:t>
            </a:r>
            <a:r>
              <a:rPr lang="en-US" sz="2673" b="1">
                <a:solidFill>
                  <a:schemeClr val="accent1"/>
                </a:solidFill>
                <a:latin typeface="Arial" panose="020B0604020202020204" pitchFamily="34" charset="0"/>
              </a:rPr>
              <a:t>C</a:t>
            </a:r>
            <a:r>
              <a:rPr lang="en-US" sz="2673">
                <a:solidFill>
                  <a:schemeClr val="accent1"/>
                </a:solidFill>
                <a:latin typeface="Arial" panose="020B0604020202020204" pitchFamily="34" charset="0"/>
              </a:rPr>
              <a:t>ommunication</a:t>
            </a:r>
            <a:br>
              <a:rPr lang="en-US" sz="2673">
                <a:solidFill>
                  <a:schemeClr val="accent1"/>
                </a:solidFill>
                <a:latin typeface="Arial" panose="020B0604020202020204" pitchFamily="34" charset="0"/>
              </a:rPr>
            </a:br>
            <a:r>
              <a:rPr lang="en-US" sz="2673" b="1">
                <a:solidFill>
                  <a:schemeClr val="accent1"/>
                </a:solidFill>
                <a:latin typeface="Arial" panose="020B0604020202020204" pitchFamily="34" charset="0"/>
              </a:rPr>
              <a:t>A</a:t>
            </a:r>
            <a:r>
              <a:rPr lang="en-US" sz="2673">
                <a:solidFill>
                  <a:schemeClr val="accent1"/>
                </a:solidFill>
                <a:latin typeface="Arial" panose="020B0604020202020204" pitchFamily="34" charset="0"/>
              </a:rPr>
              <a:t>bstraction </a:t>
            </a:r>
            <a:r>
              <a:rPr lang="en-US" sz="2673" b="1">
                <a:solidFill>
                  <a:schemeClr val="accent1"/>
                </a:solidFill>
                <a:latin typeface="Arial" panose="020B0604020202020204" pitchFamily="34" charset="0"/>
              </a:rPr>
              <a:t>L</a:t>
            </a:r>
            <a:r>
              <a:rPr lang="en-US" sz="2673">
                <a:solidFill>
                  <a:schemeClr val="accent1"/>
                </a:solidFill>
                <a:latin typeface="Arial" panose="020B0604020202020204" pitchFamily="34" charset="0"/>
              </a:rPr>
              <a:t>ayer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5D16728-7D4A-4128-B382-F7539D41E0C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9825" y="1972538"/>
            <a:ext cx="8572164" cy="32617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387837E2-DA7A-4A9A-8A15-ECB78E9A3B5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97553" y="1057540"/>
            <a:ext cx="1098970" cy="1370137"/>
          </a:xfrm>
          <a:prstGeom prst="rect">
            <a:avLst/>
          </a:prstGeom>
        </p:spPr>
      </p:pic>
      <p:grpSp>
        <p:nvGrpSpPr>
          <p:cNvPr id="250" name="Gruppieren 249">
            <a:extLst>
              <a:ext uri="{FF2B5EF4-FFF2-40B4-BE49-F238E27FC236}">
                <a16:creationId xmlns:a16="http://schemas.microsoft.com/office/drawing/2014/main" id="{E13EB975-57B3-464C-A659-96B3F3D82BDB}"/>
              </a:ext>
            </a:extLst>
          </p:cNvPr>
          <p:cNvGrpSpPr/>
          <p:nvPr/>
        </p:nvGrpSpPr>
        <p:grpSpPr>
          <a:xfrm>
            <a:off x="944060" y="10287673"/>
            <a:ext cx="8797276" cy="3814205"/>
            <a:chOff x="991971" y="8342248"/>
            <a:chExt cx="7899915" cy="3425139"/>
          </a:xfrm>
        </p:grpSpPr>
        <p:sp>
          <p:nvSpPr>
            <p:cNvPr id="156" name="Text Box 25">
              <a:extLst>
                <a:ext uri="{FF2B5EF4-FFF2-40B4-BE49-F238E27FC236}">
                  <a16:creationId xmlns:a16="http://schemas.microsoft.com/office/drawing/2014/main" id="{CFB11BE5-195F-49BD-A52A-28567F8B8F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1971" y="8342248"/>
              <a:ext cx="1205202" cy="2566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Camera</a:t>
              </a:r>
            </a:p>
          </p:txBody>
        </p: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B3E44FF3-EF3B-4F72-AE3A-261BAF34D180}"/>
                </a:ext>
              </a:extLst>
            </p:cNvPr>
            <p:cNvGrpSpPr/>
            <p:nvPr/>
          </p:nvGrpSpPr>
          <p:grpSpPr>
            <a:xfrm>
              <a:off x="1187667" y="8564202"/>
              <a:ext cx="813811" cy="619576"/>
              <a:chOff x="449407" y="1663733"/>
              <a:chExt cx="813811" cy="619576"/>
            </a:xfrm>
          </p:grpSpPr>
          <p:sp>
            <p:nvSpPr>
              <p:cNvPr id="158" name="Abgerundetes Rechteck 6">
                <a:extLst>
                  <a:ext uri="{FF2B5EF4-FFF2-40B4-BE49-F238E27FC236}">
                    <a16:creationId xmlns:a16="http://schemas.microsoft.com/office/drawing/2014/main" id="{A6A5C86E-52A8-4222-AA72-135D09EA3DAB}"/>
                  </a:ext>
                </a:extLst>
              </p:cNvPr>
              <p:cNvSpPr/>
              <p:nvPr/>
            </p:nvSpPr>
            <p:spPr>
              <a:xfrm>
                <a:off x="449407" y="1663733"/>
                <a:ext cx="813811" cy="619576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75">
                  <a:solidFill>
                    <a:schemeClr val="lt2"/>
                  </a:solidFill>
                </a:endParaRPr>
              </a:p>
            </p:txBody>
          </p:sp>
          <p:pic>
            <p:nvPicPr>
              <p:cNvPr id="159" name="Picture 2" descr="D:\DSUsers\uidw0282\50 Communication\30 Media Database\04 Product Pictures\MFC400\MFC400 Februar 2014\freigestellt\MFC400frei.png">
                <a:extLst>
                  <a:ext uri="{FF2B5EF4-FFF2-40B4-BE49-F238E27FC236}">
                    <a16:creationId xmlns:a16="http://schemas.microsoft.com/office/drawing/2014/main" id="{CDA6A885-8F33-462B-9950-4BDAAAF215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/>
              <a:srcRect l="13596" t="10149" r="14404" b="10604"/>
              <a:stretch>
                <a:fillRect/>
              </a:stretch>
            </p:blipFill>
            <p:spPr bwMode="auto">
              <a:xfrm>
                <a:off x="544936" y="1699586"/>
                <a:ext cx="602782" cy="547869"/>
              </a:xfrm>
              <a:prstGeom prst="rect">
                <a:avLst/>
              </a:prstGeom>
              <a:noFill/>
            </p:spPr>
          </p:pic>
        </p:grpSp>
        <p:sp>
          <p:nvSpPr>
            <p:cNvPr id="153" name="Text Box 25">
              <a:extLst>
                <a:ext uri="{FF2B5EF4-FFF2-40B4-BE49-F238E27FC236}">
                  <a16:creationId xmlns:a16="http://schemas.microsoft.com/office/drawing/2014/main" id="{38C871E2-F641-446C-91D6-7AE0281CEC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1971" y="9209112"/>
              <a:ext cx="1205202" cy="2566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GPS Position</a:t>
              </a:r>
            </a:p>
          </p:txBody>
        </p:sp>
        <p:grpSp>
          <p:nvGrpSpPr>
            <p:cNvPr id="141" name="Gruppieren 140">
              <a:extLst>
                <a:ext uri="{FF2B5EF4-FFF2-40B4-BE49-F238E27FC236}">
                  <a16:creationId xmlns:a16="http://schemas.microsoft.com/office/drawing/2014/main" id="{D29820EC-D917-4328-9FFD-B265C2B92CF6}"/>
                </a:ext>
              </a:extLst>
            </p:cNvPr>
            <p:cNvGrpSpPr/>
            <p:nvPr/>
          </p:nvGrpSpPr>
          <p:grpSpPr>
            <a:xfrm>
              <a:off x="1187667" y="9437388"/>
              <a:ext cx="813811" cy="619576"/>
              <a:chOff x="1195462" y="9620529"/>
              <a:chExt cx="813811" cy="619576"/>
            </a:xfrm>
          </p:grpSpPr>
          <p:sp>
            <p:nvSpPr>
              <p:cNvPr id="154" name="Abgerundetes Rechteck 6">
                <a:extLst>
                  <a:ext uri="{FF2B5EF4-FFF2-40B4-BE49-F238E27FC236}">
                    <a16:creationId xmlns:a16="http://schemas.microsoft.com/office/drawing/2014/main" id="{A1CE80E4-938B-409F-91EA-B2A7AC764C79}"/>
                  </a:ext>
                </a:extLst>
              </p:cNvPr>
              <p:cNvSpPr/>
              <p:nvPr/>
            </p:nvSpPr>
            <p:spPr>
              <a:xfrm>
                <a:off x="1195462" y="9620529"/>
                <a:ext cx="813811" cy="619576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75">
                  <a:solidFill>
                    <a:schemeClr val="lt2"/>
                  </a:solidFill>
                </a:endParaRPr>
              </a:p>
            </p:txBody>
          </p:sp>
          <p:pic>
            <p:nvPicPr>
              <p:cNvPr id="155" name="Grafik 154" descr="Satellit">
                <a:extLst>
                  <a:ext uri="{FF2B5EF4-FFF2-40B4-BE49-F238E27FC236}">
                    <a16:creationId xmlns:a16="http://schemas.microsoft.com/office/drawing/2014/main" id="{A76FE22E-59CE-448B-BCB7-38EE0D21C0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338208" y="9670984"/>
                <a:ext cx="518665" cy="518665"/>
              </a:xfrm>
              <a:prstGeom prst="rect">
                <a:avLst/>
              </a:prstGeom>
            </p:spPr>
          </p:pic>
        </p:grpSp>
        <p:sp>
          <p:nvSpPr>
            <p:cNvPr id="151" name="Text Box 25">
              <a:extLst>
                <a:ext uri="{FF2B5EF4-FFF2-40B4-BE49-F238E27FC236}">
                  <a16:creationId xmlns:a16="http://schemas.microsoft.com/office/drawing/2014/main" id="{BD9C19C7-B502-40BB-82AF-D2B68DD755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1971" y="10073208"/>
              <a:ext cx="1205202" cy="2566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Wheel Ticks</a:t>
              </a:r>
            </a:p>
          </p:txBody>
        </p:sp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259E5DD8-1117-44E9-B28E-CFAA5ED224C8}"/>
                </a:ext>
              </a:extLst>
            </p:cNvPr>
            <p:cNvGrpSpPr/>
            <p:nvPr/>
          </p:nvGrpSpPr>
          <p:grpSpPr>
            <a:xfrm>
              <a:off x="1187667" y="10306043"/>
              <a:ext cx="813811" cy="619576"/>
              <a:chOff x="1195462" y="10605760"/>
              <a:chExt cx="813811" cy="619576"/>
            </a:xfrm>
          </p:grpSpPr>
          <p:sp>
            <p:nvSpPr>
              <p:cNvPr id="152" name="Abgerundetes Rechteck 6">
                <a:extLst>
                  <a:ext uri="{FF2B5EF4-FFF2-40B4-BE49-F238E27FC236}">
                    <a16:creationId xmlns:a16="http://schemas.microsoft.com/office/drawing/2014/main" id="{103D6B39-BE59-44BA-BA17-7E306332BE03}"/>
                  </a:ext>
                </a:extLst>
              </p:cNvPr>
              <p:cNvSpPr/>
              <p:nvPr/>
            </p:nvSpPr>
            <p:spPr>
              <a:xfrm>
                <a:off x="1195462" y="10605760"/>
                <a:ext cx="813811" cy="619576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75">
                  <a:solidFill>
                    <a:schemeClr val="lt2"/>
                  </a:solidFill>
                </a:endParaRPr>
              </a:p>
            </p:txBody>
          </p:sp>
          <p:pic>
            <p:nvPicPr>
              <p:cNvPr id="150" name="Grafik 149" descr="Herzschlag">
                <a:extLst>
                  <a:ext uri="{FF2B5EF4-FFF2-40B4-BE49-F238E27FC236}">
                    <a16:creationId xmlns:a16="http://schemas.microsoft.com/office/drawing/2014/main" id="{37E5D57B-63D2-4D98-9EFD-75DF89B3BD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301691" y="10605760"/>
                <a:ext cx="619576" cy="619576"/>
              </a:xfrm>
              <a:prstGeom prst="rect">
                <a:avLst/>
              </a:prstGeom>
            </p:spPr>
          </p:pic>
        </p:grpSp>
        <p:cxnSp>
          <p:nvCxnSpPr>
            <p:cNvPr id="161" name="Gerade Verbindung mit Pfeil 160">
              <a:extLst>
                <a:ext uri="{FF2B5EF4-FFF2-40B4-BE49-F238E27FC236}">
                  <a16:creationId xmlns:a16="http://schemas.microsoft.com/office/drawing/2014/main" id="{751E7854-9A41-40E1-855B-5D4BB3192166}"/>
                </a:ext>
              </a:extLst>
            </p:cNvPr>
            <p:cNvCxnSpPr>
              <a:cxnSpLocks/>
              <a:stCxn id="158" idx="3"/>
              <a:endCxn id="115" idx="2"/>
            </p:cNvCxnSpPr>
            <p:nvPr/>
          </p:nvCxnSpPr>
          <p:spPr>
            <a:xfrm>
              <a:off x="2001478" y="8873990"/>
              <a:ext cx="170882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 Verbindung mit Pfeil 163">
              <a:extLst>
                <a:ext uri="{FF2B5EF4-FFF2-40B4-BE49-F238E27FC236}">
                  <a16:creationId xmlns:a16="http://schemas.microsoft.com/office/drawing/2014/main" id="{CCF27D0A-3388-45D3-95E0-7C244ACB823F}"/>
                </a:ext>
              </a:extLst>
            </p:cNvPr>
            <p:cNvCxnSpPr>
              <a:cxnSpLocks/>
              <a:stCxn id="154" idx="3"/>
              <a:endCxn id="110" idx="2"/>
            </p:cNvCxnSpPr>
            <p:nvPr/>
          </p:nvCxnSpPr>
          <p:spPr>
            <a:xfrm>
              <a:off x="2001478" y="9747176"/>
              <a:ext cx="638882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Text Box 25">
              <a:extLst>
                <a:ext uri="{FF2B5EF4-FFF2-40B4-BE49-F238E27FC236}">
                  <a16:creationId xmlns:a16="http://schemas.microsoft.com/office/drawing/2014/main" id="{F000307E-1219-49AC-9CF7-CF2BAB0B17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37724" y="9815464"/>
              <a:ext cx="1205202" cy="3951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Position </a:t>
              </a:r>
              <a:br>
                <a:rPr lang="en-US" sz="1002" b="1">
                  <a:solidFill>
                    <a:schemeClr val="lt2"/>
                  </a:solidFill>
                </a:rPr>
              </a:br>
              <a:r>
                <a:rPr lang="en-US" sz="1002" b="1">
                  <a:solidFill>
                    <a:schemeClr val="lt2"/>
                  </a:solidFill>
                </a:rPr>
                <a:t>Estimation</a:t>
              </a:r>
            </a:p>
          </p:txBody>
        </p:sp>
        <p:cxnSp>
          <p:nvCxnSpPr>
            <p:cNvPr id="167" name="Gerade Verbindung mit Pfeil 166">
              <a:extLst>
                <a:ext uri="{FF2B5EF4-FFF2-40B4-BE49-F238E27FC236}">
                  <a16:creationId xmlns:a16="http://schemas.microsoft.com/office/drawing/2014/main" id="{6E425610-4AF6-410C-953A-2867391A1E22}"/>
                </a:ext>
              </a:extLst>
            </p:cNvPr>
            <p:cNvCxnSpPr>
              <a:cxnSpLocks/>
              <a:stCxn id="152" idx="3"/>
              <a:endCxn id="37" idx="2"/>
            </p:cNvCxnSpPr>
            <p:nvPr/>
          </p:nvCxnSpPr>
          <p:spPr>
            <a:xfrm flipV="1">
              <a:off x="2001478" y="10613547"/>
              <a:ext cx="1070930" cy="2284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Text Box 25">
              <a:extLst>
                <a:ext uri="{FF2B5EF4-FFF2-40B4-BE49-F238E27FC236}">
                  <a16:creationId xmlns:a16="http://schemas.microsoft.com/office/drawing/2014/main" id="{D38A9766-B593-43A9-9E08-98BDB79C4F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86684" y="10645046"/>
              <a:ext cx="1205202" cy="2566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eCAL  Recording</a:t>
              </a:r>
            </a:p>
          </p:txBody>
        </p:sp>
        <p:grpSp>
          <p:nvGrpSpPr>
            <p:cNvPr id="186" name="Gruppieren 185">
              <a:extLst>
                <a:ext uri="{FF2B5EF4-FFF2-40B4-BE49-F238E27FC236}">
                  <a16:creationId xmlns:a16="http://schemas.microsoft.com/office/drawing/2014/main" id="{E00B3072-77F9-42CB-95B2-66B63FE8079E}"/>
                </a:ext>
              </a:extLst>
            </p:cNvPr>
            <p:cNvGrpSpPr/>
            <p:nvPr/>
          </p:nvGrpSpPr>
          <p:grpSpPr>
            <a:xfrm>
              <a:off x="7686684" y="10851664"/>
              <a:ext cx="1205202" cy="801474"/>
              <a:chOff x="4926276" y="3140858"/>
              <a:chExt cx="1205202" cy="801474"/>
            </a:xfrm>
          </p:grpSpPr>
          <p:pic>
            <p:nvPicPr>
              <p:cNvPr id="190" name="Picture 9" descr="C:\Users\vasilescuc\Desktop\eCALPlayGUI.png">
                <a:extLst>
                  <a:ext uri="{FF2B5EF4-FFF2-40B4-BE49-F238E27FC236}">
                    <a16:creationId xmlns:a16="http://schemas.microsoft.com/office/drawing/2014/main" id="{9DB295D8-73BE-4063-BCA6-2F5AE56FB3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/>
              <a:stretch>
                <a:fillRect/>
              </a:stretch>
            </p:blipFill>
            <p:spPr bwMode="auto">
              <a:xfrm>
                <a:off x="5252661" y="3140858"/>
                <a:ext cx="552432" cy="579827"/>
              </a:xfrm>
              <a:prstGeom prst="rect">
                <a:avLst/>
              </a:prstGeom>
              <a:noFill/>
            </p:spPr>
          </p:pic>
          <p:sp>
            <p:nvSpPr>
              <p:cNvPr id="191" name="Text Box 25">
                <a:extLst>
                  <a:ext uri="{FF2B5EF4-FFF2-40B4-BE49-F238E27FC236}">
                    <a16:creationId xmlns:a16="http://schemas.microsoft.com/office/drawing/2014/main" id="{912D0B49-28D9-44E1-A3A3-51BB4A82568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26276" y="3685639"/>
                <a:ext cx="1205202" cy="25669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53452" tIns="65184" rIns="53452" bIns="65184">
                <a:spAutoFit/>
              </a:bodyPr>
              <a:lstStyle/>
              <a:p>
                <a:pPr algn="ctr" defTabSz="1420538"/>
                <a:r>
                  <a:rPr lang="en-US" sz="1002" b="1">
                    <a:solidFill>
                      <a:schemeClr val="lt2"/>
                    </a:solidFill>
                  </a:rPr>
                  <a:t>eCAL Recorder</a:t>
                </a:r>
              </a:p>
            </p:txBody>
          </p:sp>
        </p:grpSp>
        <p:cxnSp>
          <p:nvCxnSpPr>
            <p:cNvPr id="189" name="Gerade Verbindung mit Pfeil 188">
              <a:extLst>
                <a:ext uri="{FF2B5EF4-FFF2-40B4-BE49-F238E27FC236}">
                  <a16:creationId xmlns:a16="http://schemas.microsoft.com/office/drawing/2014/main" id="{2F00AACF-1D0E-4A25-B7A4-5F60E3E39ECB}"/>
                </a:ext>
              </a:extLst>
            </p:cNvPr>
            <p:cNvCxnSpPr>
              <a:cxnSpLocks/>
              <a:stCxn id="113" idx="6"/>
              <a:endCxn id="129" idx="2"/>
            </p:cNvCxnSpPr>
            <p:nvPr/>
          </p:nvCxnSpPr>
          <p:spPr>
            <a:xfrm>
              <a:off x="5484624" y="8873990"/>
              <a:ext cx="612120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8B8B42F3-F6C3-4D2D-8E22-4B938E2EDD02}"/>
                </a:ext>
              </a:extLst>
            </p:cNvPr>
            <p:cNvCxnSpPr>
              <a:cxnSpLocks/>
              <a:stCxn id="126" idx="6"/>
              <a:endCxn id="121" idx="2"/>
            </p:cNvCxnSpPr>
            <p:nvPr/>
          </p:nvCxnSpPr>
          <p:spPr>
            <a:xfrm>
              <a:off x="4584576" y="9747176"/>
              <a:ext cx="828144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4A5C2E5F-7B8D-4166-8E9A-AAFF3A59D35F}"/>
                </a:ext>
              </a:extLst>
            </p:cNvPr>
            <p:cNvGrpSpPr/>
            <p:nvPr/>
          </p:nvGrpSpPr>
          <p:grpSpPr>
            <a:xfrm>
              <a:off x="3576464" y="8567990"/>
              <a:ext cx="612000" cy="612000"/>
              <a:chOff x="4433169" y="9011529"/>
              <a:chExt cx="612000" cy="612000"/>
            </a:xfrm>
          </p:grpSpPr>
          <p:sp>
            <p:nvSpPr>
              <p:cNvPr id="201" name="Ellipse 200">
                <a:extLst>
                  <a:ext uri="{FF2B5EF4-FFF2-40B4-BE49-F238E27FC236}">
                    <a16:creationId xmlns:a16="http://schemas.microsoft.com/office/drawing/2014/main" id="{6B2D70BA-EF40-4FD6-87AB-073128169AE5}"/>
                  </a:ext>
                </a:extLst>
              </p:cNvPr>
              <p:cNvSpPr/>
              <p:nvPr/>
            </p:nvSpPr>
            <p:spPr>
              <a:xfrm>
                <a:off x="4433169" y="9011529"/>
                <a:ext cx="612000" cy="61200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782" err="1">
                  <a:solidFill>
                    <a:schemeClr val="lt2"/>
                  </a:solidFill>
                </a:endParaRPr>
              </a:p>
            </p:txBody>
          </p:sp>
          <p:pic>
            <p:nvPicPr>
              <p:cNvPr id="202" name="Grafik 201" descr="Browserfenster">
                <a:extLst>
                  <a:ext uri="{FF2B5EF4-FFF2-40B4-BE49-F238E27FC236}">
                    <a16:creationId xmlns:a16="http://schemas.microsoft.com/office/drawing/2014/main" id="{C3C08469-F444-4863-9E73-07A0E28A8F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4509668" y="9088029"/>
                <a:ext cx="459003" cy="459000"/>
              </a:xfrm>
              <a:prstGeom prst="rect">
                <a:avLst/>
              </a:prstGeom>
            </p:spPr>
          </p:pic>
        </p:grpSp>
        <p:sp>
          <p:nvSpPr>
            <p:cNvPr id="200" name="Text Box 25">
              <a:extLst>
                <a:ext uri="{FF2B5EF4-FFF2-40B4-BE49-F238E27FC236}">
                  <a16:creationId xmlns:a16="http://schemas.microsoft.com/office/drawing/2014/main" id="{510DAB01-88FB-4100-A5F6-2F8E4DFA08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20977" y="8350423"/>
              <a:ext cx="1205202" cy="3951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Lane Marker Detection</a:t>
              </a:r>
            </a:p>
          </p:txBody>
        </p:sp>
        <p:cxnSp>
          <p:nvCxnSpPr>
            <p:cNvPr id="197" name="Gerade Verbindung mit Pfeil 196">
              <a:extLst>
                <a:ext uri="{FF2B5EF4-FFF2-40B4-BE49-F238E27FC236}">
                  <a16:creationId xmlns:a16="http://schemas.microsoft.com/office/drawing/2014/main" id="{00020C28-CD74-4492-AF12-529B70857C4D}"/>
                </a:ext>
              </a:extLst>
            </p:cNvPr>
            <p:cNvCxnSpPr>
              <a:cxnSpLocks/>
              <a:endCxn id="201" idx="2"/>
            </p:cNvCxnSpPr>
            <p:nvPr/>
          </p:nvCxnSpPr>
          <p:spPr>
            <a:xfrm flipV="1">
              <a:off x="2533964" y="8873990"/>
              <a:ext cx="1042500" cy="926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Gerade Verbindung mit Pfeil 204">
              <a:extLst>
                <a:ext uri="{FF2B5EF4-FFF2-40B4-BE49-F238E27FC236}">
                  <a16:creationId xmlns:a16="http://schemas.microsoft.com/office/drawing/2014/main" id="{DF9EF43D-D628-45CF-90A6-C4412D219508}"/>
                </a:ext>
              </a:extLst>
            </p:cNvPr>
            <p:cNvCxnSpPr>
              <a:cxnSpLocks/>
              <a:stCxn id="201" idx="6"/>
              <a:endCxn id="113" idx="2"/>
            </p:cNvCxnSpPr>
            <p:nvPr/>
          </p:nvCxnSpPr>
          <p:spPr>
            <a:xfrm>
              <a:off x="4188464" y="8873990"/>
              <a:ext cx="828160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0D9CC736-084F-437D-B21E-6987C34F22ED}"/>
                </a:ext>
              </a:extLst>
            </p:cNvPr>
            <p:cNvSpPr txBox="1"/>
            <p:nvPr/>
          </p:nvSpPr>
          <p:spPr>
            <a:xfrm>
              <a:off x="996048" y="11355834"/>
              <a:ext cx="5336772" cy="411553"/>
            </a:xfrm>
            <a:prstGeom prst="rect">
              <a:avLst/>
            </a:prstGeom>
            <a:noFill/>
          </p:spPr>
          <p:txBody>
            <a:bodyPr vert="horz" wrap="none" lIns="101827" tIns="50913" rIns="101827" bIns="50913" rtlCol="0" anchor="t">
              <a:spAutoFit/>
            </a:bodyPr>
            <a:lstStyle/>
            <a:p>
              <a:r>
                <a:rPr lang="en-US" sz="2310" i="1">
                  <a:solidFill>
                    <a:schemeClr val="bg1"/>
                  </a:solidFill>
                  <a:latin typeface="Arial"/>
                  <a:cs typeface="Arial"/>
                </a:rPr>
                <a:t>Typical eCAL Autonomous Driving use case</a:t>
              </a: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56A88D51-165E-41D6-916C-D84BD5CB2418}"/>
                </a:ext>
              </a:extLst>
            </p:cNvPr>
            <p:cNvGrpSpPr/>
            <p:nvPr/>
          </p:nvGrpSpPr>
          <p:grpSpPr>
            <a:xfrm>
              <a:off x="3072408" y="10379547"/>
              <a:ext cx="468000" cy="468000"/>
              <a:chOff x="3273085" y="11182099"/>
              <a:chExt cx="468000" cy="468000"/>
            </a:xfrm>
          </p:grpSpPr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73B32E03-CAC6-49C7-BD65-BFAD7F9BEF80}"/>
                  </a:ext>
                </a:extLst>
              </p:cNvPr>
              <p:cNvSpPr/>
              <p:nvPr/>
            </p:nvSpPr>
            <p:spPr>
              <a:xfrm>
                <a:off x="3273085" y="11182099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68" name="Grafik 167" descr="Herzschlag">
                <a:extLst>
                  <a:ext uri="{FF2B5EF4-FFF2-40B4-BE49-F238E27FC236}">
                    <a16:creationId xmlns:a16="http://schemas.microsoft.com/office/drawing/2014/main" id="{1A625E57-4D81-4328-99A6-CACD142809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3322090" y="11240557"/>
                <a:ext cx="369990" cy="369990"/>
              </a:xfrm>
              <a:prstGeom prst="rect">
                <a:avLst/>
              </a:prstGeom>
            </p:spPr>
          </p:pic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5F3E1FDB-1463-4E6A-9A5A-9E15E8623AAA}"/>
                </a:ext>
              </a:extLst>
            </p:cNvPr>
            <p:cNvGrpSpPr/>
            <p:nvPr/>
          </p:nvGrpSpPr>
          <p:grpSpPr>
            <a:xfrm>
              <a:off x="2640360" y="9513176"/>
              <a:ext cx="468000" cy="468000"/>
              <a:chOff x="4266089" y="10966418"/>
              <a:chExt cx="468000" cy="468000"/>
            </a:xfrm>
          </p:grpSpPr>
          <p:sp>
            <p:nvSpPr>
              <p:cNvPr id="110" name="Ellipse 109">
                <a:extLst>
                  <a:ext uri="{FF2B5EF4-FFF2-40B4-BE49-F238E27FC236}">
                    <a16:creationId xmlns:a16="http://schemas.microsoft.com/office/drawing/2014/main" id="{D39C1E69-6A24-4ED8-837A-81A7DF3DEA64}"/>
                  </a:ext>
                </a:extLst>
              </p:cNvPr>
              <p:cNvSpPr/>
              <p:nvPr/>
            </p:nvSpPr>
            <p:spPr>
              <a:xfrm>
                <a:off x="4266089" y="10966418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65" name="Grafik 164" descr="Satellit">
                <a:extLst>
                  <a:ext uri="{FF2B5EF4-FFF2-40B4-BE49-F238E27FC236}">
                    <a16:creationId xmlns:a16="http://schemas.microsoft.com/office/drawing/2014/main" id="{2626B473-3FB2-4AB1-A5C0-DC0A23E5E4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4331680" y="11032009"/>
                <a:ext cx="336818" cy="336818"/>
              </a:xfrm>
              <a:prstGeom prst="rect">
                <a:avLst/>
              </a:prstGeom>
            </p:spPr>
          </p:pic>
        </p:grp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99C195A1-7AEE-48C7-B8B0-C5B19593D472}"/>
                </a:ext>
              </a:extLst>
            </p:cNvPr>
            <p:cNvGrpSpPr/>
            <p:nvPr/>
          </p:nvGrpSpPr>
          <p:grpSpPr>
            <a:xfrm>
              <a:off x="2172360" y="8639990"/>
              <a:ext cx="468000" cy="468000"/>
              <a:chOff x="4156235" y="10947619"/>
              <a:chExt cx="468000" cy="468000"/>
            </a:xfrm>
          </p:grpSpPr>
          <p:sp>
            <p:nvSpPr>
              <p:cNvPr id="115" name="Ellipse 114">
                <a:extLst>
                  <a:ext uri="{FF2B5EF4-FFF2-40B4-BE49-F238E27FC236}">
                    <a16:creationId xmlns:a16="http://schemas.microsoft.com/office/drawing/2014/main" id="{9C0EA822-1F2C-4E4C-B4B1-E7B1BE6C7560}"/>
                  </a:ext>
                </a:extLst>
              </p:cNvPr>
              <p:cNvSpPr/>
              <p:nvPr/>
            </p:nvSpPr>
            <p:spPr>
              <a:xfrm>
                <a:off x="4156235" y="10947619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98" name="Grafik 197" descr="Bild">
                <a:extLst>
                  <a:ext uri="{FF2B5EF4-FFF2-40B4-BE49-F238E27FC236}">
                    <a16:creationId xmlns:a16="http://schemas.microsoft.com/office/drawing/2014/main" id="{D74F1BEA-8D93-492D-AA95-1BE7CB712A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4207134" y="10979384"/>
                <a:ext cx="366203" cy="404471"/>
              </a:xfrm>
              <a:prstGeom prst="rect">
                <a:avLst/>
              </a:prstGeom>
            </p:spPr>
          </p:pic>
        </p:grpSp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957B53AD-4467-4133-9C67-E48127401B0F}"/>
                </a:ext>
              </a:extLst>
            </p:cNvPr>
            <p:cNvGrpSpPr/>
            <p:nvPr/>
          </p:nvGrpSpPr>
          <p:grpSpPr>
            <a:xfrm>
              <a:off x="5412720" y="9513176"/>
              <a:ext cx="468000" cy="468000"/>
              <a:chOff x="3032936" y="11023305"/>
              <a:chExt cx="468000" cy="468000"/>
            </a:xfrm>
          </p:grpSpPr>
          <p:sp>
            <p:nvSpPr>
              <p:cNvPr id="121" name="Ellipse 120">
                <a:extLst>
                  <a:ext uri="{FF2B5EF4-FFF2-40B4-BE49-F238E27FC236}">
                    <a16:creationId xmlns:a16="http://schemas.microsoft.com/office/drawing/2014/main" id="{4E3166CB-0BC4-460F-917A-C73C3BFAFA7D}"/>
                  </a:ext>
                </a:extLst>
              </p:cNvPr>
              <p:cNvSpPr/>
              <p:nvPr/>
            </p:nvSpPr>
            <p:spPr>
              <a:xfrm>
                <a:off x="3032936" y="11023305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22" name="Grafik 121" descr="Ziel">
                <a:extLst>
                  <a:ext uri="{FF2B5EF4-FFF2-40B4-BE49-F238E27FC236}">
                    <a16:creationId xmlns:a16="http://schemas.microsoft.com/office/drawing/2014/main" id="{4B4630C4-2D09-4914-A0B1-086B9E1E11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3091473" y="11081842"/>
                <a:ext cx="350926" cy="350926"/>
              </a:xfrm>
              <a:prstGeom prst="rect">
                <a:avLst/>
              </a:prstGeom>
            </p:spPr>
          </p:pic>
        </p:grpSp>
        <p:grpSp>
          <p:nvGrpSpPr>
            <p:cNvPr id="125" name="Gruppieren 124">
              <a:extLst>
                <a:ext uri="{FF2B5EF4-FFF2-40B4-BE49-F238E27FC236}">
                  <a16:creationId xmlns:a16="http://schemas.microsoft.com/office/drawing/2014/main" id="{235111B7-9418-4890-96AD-EF58B97550B9}"/>
                </a:ext>
              </a:extLst>
            </p:cNvPr>
            <p:cNvGrpSpPr/>
            <p:nvPr/>
          </p:nvGrpSpPr>
          <p:grpSpPr>
            <a:xfrm>
              <a:off x="3972576" y="9441176"/>
              <a:ext cx="612000" cy="612000"/>
              <a:chOff x="4433169" y="9011529"/>
              <a:chExt cx="612000" cy="612000"/>
            </a:xfrm>
          </p:grpSpPr>
          <p:sp>
            <p:nvSpPr>
              <p:cNvPr id="126" name="Ellipse 125">
                <a:extLst>
                  <a:ext uri="{FF2B5EF4-FFF2-40B4-BE49-F238E27FC236}">
                    <a16:creationId xmlns:a16="http://schemas.microsoft.com/office/drawing/2014/main" id="{DA51610B-B676-439D-949F-E7E6019E01F2}"/>
                  </a:ext>
                </a:extLst>
              </p:cNvPr>
              <p:cNvSpPr/>
              <p:nvPr/>
            </p:nvSpPr>
            <p:spPr>
              <a:xfrm>
                <a:off x="4433169" y="9011529"/>
                <a:ext cx="612000" cy="61200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782" err="1">
                  <a:solidFill>
                    <a:schemeClr val="lt2"/>
                  </a:solidFill>
                </a:endParaRPr>
              </a:p>
            </p:txBody>
          </p:sp>
          <p:pic>
            <p:nvPicPr>
              <p:cNvPr id="127" name="Grafik 126" descr="Browserfenster">
                <a:extLst>
                  <a:ext uri="{FF2B5EF4-FFF2-40B4-BE49-F238E27FC236}">
                    <a16:creationId xmlns:a16="http://schemas.microsoft.com/office/drawing/2014/main" id="{9657BF38-0B2E-4FFF-85CC-70B31A8FD2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4509668" y="9088029"/>
                <a:ext cx="459003" cy="459000"/>
              </a:xfrm>
              <a:prstGeom prst="rect">
                <a:avLst/>
              </a:prstGeom>
            </p:spPr>
          </p:pic>
        </p:grpSp>
        <p:grpSp>
          <p:nvGrpSpPr>
            <p:cNvPr id="128" name="Gruppieren 127">
              <a:extLst>
                <a:ext uri="{FF2B5EF4-FFF2-40B4-BE49-F238E27FC236}">
                  <a16:creationId xmlns:a16="http://schemas.microsoft.com/office/drawing/2014/main" id="{310EA878-70D9-4382-AE9F-706035BA2607}"/>
                </a:ext>
              </a:extLst>
            </p:cNvPr>
            <p:cNvGrpSpPr/>
            <p:nvPr/>
          </p:nvGrpSpPr>
          <p:grpSpPr>
            <a:xfrm>
              <a:off x="6096744" y="8567990"/>
              <a:ext cx="612000" cy="612000"/>
              <a:chOff x="4433169" y="9011529"/>
              <a:chExt cx="612000" cy="612000"/>
            </a:xfrm>
          </p:grpSpPr>
          <p:sp>
            <p:nvSpPr>
              <p:cNvPr id="129" name="Ellipse 128">
                <a:extLst>
                  <a:ext uri="{FF2B5EF4-FFF2-40B4-BE49-F238E27FC236}">
                    <a16:creationId xmlns:a16="http://schemas.microsoft.com/office/drawing/2014/main" id="{9A1077E6-AE2E-44A1-BB0B-6FB50FEAA62A}"/>
                  </a:ext>
                </a:extLst>
              </p:cNvPr>
              <p:cNvSpPr/>
              <p:nvPr/>
            </p:nvSpPr>
            <p:spPr>
              <a:xfrm>
                <a:off x="4433169" y="9011529"/>
                <a:ext cx="612000" cy="61200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782" err="1">
                  <a:solidFill>
                    <a:schemeClr val="lt2"/>
                  </a:solidFill>
                </a:endParaRPr>
              </a:p>
            </p:txBody>
          </p:sp>
          <p:pic>
            <p:nvPicPr>
              <p:cNvPr id="130" name="Grafik 129" descr="Browserfenster">
                <a:extLst>
                  <a:ext uri="{FF2B5EF4-FFF2-40B4-BE49-F238E27FC236}">
                    <a16:creationId xmlns:a16="http://schemas.microsoft.com/office/drawing/2014/main" id="{62700964-8C22-49F0-83DE-44636DEC78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4509668" y="9088029"/>
                <a:ext cx="459003" cy="459000"/>
              </a:xfrm>
              <a:prstGeom prst="rect">
                <a:avLst/>
              </a:prstGeom>
            </p:spPr>
          </p:pic>
        </p:grp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706038F6-CB7C-4275-B6BB-EF2590D08C5F}"/>
                </a:ext>
              </a:extLst>
            </p:cNvPr>
            <p:cNvGrpSpPr/>
            <p:nvPr/>
          </p:nvGrpSpPr>
          <p:grpSpPr>
            <a:xfrm>
              <a:off x="7356936" y="8639990"/>
              <a:ext cx="468000" cy="468000"/>
              <a:chOff x="5580119" y="10050556"/>
              <a:chExt cx="468000" cy="468000"/>
            </a:xfrm>
          </p:grpSpPr>
          <p:sp>
            <p:nvSpPr>
              <p:cNvPr id="132" name="Ellipse 131">
                <a:extLst>
                  <a:ext uri="{FF2B5EF4-FFF2-40B4-BE49-F238E27FC236}">
                    <a16:creationId xmlns:a16="http://schemas.microsoft.com/office/drawing/2014/main" id="{ACB1F122-D332-458D-96B8-E238B43F7533}"/>
                  </a:ext>
                </a:extLst>
              </p:cNvPr>
              <p:cNvSpPr/>
              <p:nvPr/>
            </p:nvSpPr>
            <p:spPr>
              <a:xfrm>
                <a:off x="5580119" y="10050556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218" name="Grafik 217" descr="Auto">
                <a:extLst>
                  <a:ext uri="{FF2B5EF4-FFF2-40B4-BE49-F238E27FC236}">
                    <a16:creationId xmlns:a16="http://schemas.microsoft.com/office/drawing/2014/main" id="{72CD8B8E-AAFB-4207-952D-52AF7795A7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5603432" y="10073869"/>
                <a:ext cx="421374" cy="421374"/>
              </a:xfrm>
              <a:prstGeom prst="rect">
                <a:avLst/>
              </a:prstGeom>
            </p:spPr>
          </p:pic>
        </p:grp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46C284DF-4E86-44C5-8928-C8270C83C45C}"/>
                </a:ext>
              </a:extLst>
            </p:cNvPr>
            <p:cNvCxnSpPr>
              <a:cxnSpLocks/>
              <a:stCxn id="110" idx="6"/>
              <a:endCxn id="126" idx="2"/>
            </p:cNvCxnSpPr>
            <p:nvPr/>
          </p:nvCxnSpPr>
          <p:spPr>
            <a:xfrm>
              <a:off x="3108360" y="9747176"/>
              <a:ext cx="864216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3" name="Gruppieren 222">
              <a:extLst>
                <a:ext uri="{FF2B5EF4-FFF2-40B4-BE49-F238E27FC236}">
                  <a16:creationId xmlns:a16="http://schemas.microsoft.com/office/drawing/2014/main" id="{EFB2CA53-6934-4E33-94A7-55A64004CC21}"/>
                </a:ext>
              </a:extLst>
            </p:cNvPr>
            <p:cNvGrpSpPr/>
            <p:nvPr/>
          </p:nvGrpSpPr>
          <p:grpSpPr>
            <a:xfrm>
              <a:off x="7983285" y="10073208"/>
              <a:ext cx="612000" cy="612000"/>
              <a:chOff x="7221293" y="11067113"/>
              <a:chExt cx="612000" cy="612000"/>
            </a:xfrm>
          </p:grpSpPr>
          <p:sp>
            <p:nvSpPr>
              <p:cNvPr id="162" name="Ellipse 161">
                <a:extLst>
                  <a:ext uri="{FF2B5EF4-FFF2-40B4-BE49-F238E27FC236}">
                    <a16:creationId xmlns:a16="http://schemas.microsoft.com/office/drawing/2014/main" id="{79BAEFD3-09BD-4578-90A0-C47C256276B1}"/>
                  </a:ext>
                </a:extLst>
              </p:cNvPr>
              <p:cNvSpPr/>
              <p:nvPr/>
            </p:nvSpPr>
            <p:spPr>
              <a:xfrm>
                <a:off x="7221293" y="11067113"/>
                <a:ext cx="612000" cy="612000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782" err="1">
                  <a:solidFill>
                    <a:schemeClr val="lt2"/>
                  </a:solidFill>
                </a:endParaRPr>
              </a:p>
            </p:txBody>
          </p:sp>
          <p:pic>
            <p:nvPicPr>
              <p:cNvPr id="181" name="Grafik 180" descr="Diskette">
                <a:extLst>
                  <a:ext uri="{FF2B5EF4-FFF2-40B4-BE49-F238E27FC236}">
                    <a16:creationId xmlns:a16="http://schemas.microsoft.com/office/drawing/2014/main" id="{3FBFA40C-D8B8-4792-A20C-5CC2129726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>
                <a:off x="7294206" y="11157089"/>
                <a:ext cx="432048" cy="432048"/>
              </a:xfrm>
              <a:prstGeom prst="rect">
                <a:avLst/>
              </a:prstGeom>
            </p:spPr>
          </p:pic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ED31AAC0-AF01-4F4F-BD35-D60F7EEDA7B4}"/>
                </a:ext>
              </a:extLst>
            </p:cNvPr>
            <p:cNvGrpSpPr/>
            <p:nvPr/>
          </p:nvGrpSpPr>
          <p:grpSpPr>
            <a:xfrm>
              <a:off x="5016624" y="8639990"/>
              <a:ext cx="468000" cy="468000"/>
              <a:chOff x="7677852" y="10088004"/>
              <a:chExt cx="468000" cy="468000"/>
            </a:xfrm>
          </p:grpSpPr>
          <p:sp>
            <p:nvSpPr>
              <p:cNvPr id="113" name="Ellipse 112">
                <a:extLst>
                  <a:ext uri="{FF2B5EF4-FFF2-40B4-BE49-F238E27FC236}">
                    <a16:creationId xmlns:a16="http://schemas.microsoft.com/office/drawing/2014/main" id="{D163A100-955C-4B24-A8EA-BACC9FD66BAB}"/>
                  </a:ext>
                </a:extLst>
              </p:cNvPr>
              <p:cNvSpPr/>
              <p:nvPr/>
            </p:nvSpPr>
            <p:spPr>
              <a:xfrm>
                <a:off x="7677852" y="10088004"/>
                <a:ext cx="468000" cy="468000"/>
              </a:xfrm>
              <a:prstGeom prst="ellipse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82">
                  <a:solidFill>
                    <a:srgbClr val="181818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206" name="Gruppieren 205">
                <a:extLst>
                  <a:ext uri="{FF2B5EF4-FFF2-40B4-BE49-F238E27FC236}">
                    <a16:creationId xmlns:a16="http://schemas.microsoft.com/office/drawing/2014/main" id="{68B887B4-2698-4486-A624-8834A560141C}"/>
                  </a:ext>
                </a:extLst>
              </p:cNvPr>
              <p:cNvGrpSpPr/>
              <p:nvPr/>
            </p:nvGrpSpPr>
            <p:grpSpPr>
              <a:xfrm>
                <a:off x="7789639" y="10216287"/>
                <a:ext cx="244427" cy="211435"/>
                <a:chOff x="740774" y="1429157"/>
                <a:chExt cx="582729" cy="485606"/>
              </a:xfrm>
              <a:noFill/>
            </p:grpSpPr>
            <p:sp>
              <p:nvSpPr>
                <p:cNvPr id="207" name="Rechteck 206">
                  <a:extLst>
                    <a:ext uri="{FF2B5EF4-FFF2-40B4-BE49-F238E27FC236}">
                      <a16:creationId xmlns:a16="http://schemas.microsoft.com/office/drawing/2014/main" id="{E8CF9293-8254-4DA2-B276-4B2EF89B2199}"/>
                    </a:ext>
                  </a:extLst>
                </p:cNvPr>
                <p:cNvSpPr/>
                <p:nvPr/>
              </p:nvSpPr>
              <p:spPr>
                <a:xfrm>
                  <a:off x="740774" y="1429157"/>
                  <a:ext cx="582729" cy="485606"/>
                </a:xfrm>
                <a:prstGeom prst="rect">
                  <a:avLst/>
                </a:prstGeom>
                <a:solidFill>
                  <a:schemeClr val="lt1"/>
                </a:solidFill>
                <a:ln w="25400" cap="flat" cmpd="sng" algn="ctr">
                  <a:solidFill>
                    <a:srgbClr val="7F7F7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de-DE" sz="1782" err="1"/>
                </a:p>
              </p:txBody>
            </p:sp>
            <p:cxnSp>
              <p:nvCxnSpPr>
                <p:cNvPr id="208" name="Gerader Verbinder 207">
                  <a:extLst>
                    <a:ext uri="{FF2B5EF4-FFF2-40B4-BE49-F238E27FC236}">
                      <a16:creationId xmlns:a16="http://schemas.microsoft.com/office/drawing/2014/main" id="{F948F832-4B31-4C2C-A9FE-C7B0A82B04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06499" y="1465916"/>
                  <a:ext cx="306804" cy="248567"/>
                </a:xfrm>
                <a:prstGeom prst="line">
                  <a:avLst/>
                </a:prstGeom>
                <a:grpFill/>
                <a:ln w="190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Gerader Verbinder 208">
                  <a:extLst>
                    <a:ext uri="{FF2B5EF4-FFF2-40B4-BE49-F238E27FC236}">
                      <a16:creationId xmlns:a16="http://schemas.microsoft.com/office/drawing/2014/main" id="{40F9E4F8-AB8A-443E-BBE1-575A84EF28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50146" y="1629438"/>
                  <a:ext cx="306804" cy="248567"/>
                </a:xfrm>
                <a:prstGeom prst="line">
                  <a:avLst/>
                </a:prstGeom>
                <a:grpFill/>
                <a:ln w="1905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Gerader Verbinder 209">
                  <a:extLst>
                    <a:ext uri="{FF2B5EF4-FFF2-40B4-BE49-F238E27FC236}">
                      <a16:creationId xmlns:a16="http://schemas.microsoft.com/office/drawing/2014/main" id="{82ED687C-A05B-4590-8BE6-756788CED1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87554" y="1547677"/>
                  <a:ext cx="306804" cy="248567"/>
                </a:xfrm>
                <a:prstGeom prst="line">
                  <a:avLst/>
                </a:prstGeom>
                <a:grpFill/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73" name="Gerade Verbindung mit Pfeil 172">
              <a:extLst>
                <a:ext uri="{FF2B5EF4-FFF2-40B4-BE49-F238E27FC236}">
                  <a16:creationId xmlns:a16="http://schemas.microsoft.com/office/drawing/2014/main" id="{78DF87D6-5FAF-461D-916B-E8E690BD22DB}"/>
                </a:ext>
              </a:extLst>
            </p:cNvPr>
            <p:cNvCxnSpPr>
              <a:cxnSpLocks/>
              <a:stCxn id="129" idx="6"/>
              <a:endCxn id="218" idx="1"/>
            </p:cNvCxnSpPr>
            <p:nvPr/>
          </p:nvCxnSpPr>
          <p:spPr>
            <a:xfrm>
              <a:off x="6708744" y="8873990"/>
              <a:ext cx="671505" cy="0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 Verbindung mit Pfeil 173">
              <a:extLst>
                <a:ext uri="{FF2B5EF4-FFF2-40B4-BE49-F238E27FC236}">
                  <a16:creationId xmlns:a16="http://schemas.microsoft.com/office/drawing/2014/main" id="{2E4BFF1D-56B9-41D8-8C4E-A1076A212E49}"/>
                </a:ext>
              </a:extLst>
            </p:cNvPr>
            <p:cNvCxnSpPr>
              <a:cxnSpLocks/>
              <a:stCxn id="121" idx="6"/>
              <a:endCxn id="129" idx="3"/>
            </p:cNvCxnSpPr>
            <p:nvPr/>
          </p:nvCxnSpPr>
          <p:spPr>
            <a:xfrm flipV="1">
              <a:off x="5880720" y="9090365"/>
              <a:ext cx="305649" cy="656811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 Verbindung mit Pfeil 194">
              <a:extLst>
                <a:ext uri="{FF2B5EF4-FFF2-40B4-BE49-F238E27FC236}">
                  <a16:creationId xmlns:a16="http://schemas.microsoft.com/office/drawing/2014/main" id="{20FCD5C6-BA14-4DFD-8CEF-26BFDE02C51B}"/>
                </a:ext>
              </a:extLst>
            </p:cNvPr>
            <p:cNvCxnSpPr>
              <a:cxnSpLocks/>
              <a:stCxn id="37" idx="6"/>
              <a:endCxn id="126" idx="3"/>
            </p:cNvCxnSpPr>
            <p:nvPr/>
          </p:nvCxnSpPr>
          <p:spPr>
            <a:xfrm flipV="1">
              <a:off x="3540408" y="9963551"/>
              <a:ext cx="521793" cy="649996"/>
            </a:xfrm>
            <a:prstGeom prst="straightConnector1">
              <a:avLst/>
            </a:prstGeom>
            <a:ln w="3175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Verbinder: gewinkelt 227">
              <a:extLst>
                <a:ext uri="{FF2B5EF4-FFF2-40B4-BE49-F238E27FC236}">
                  <a16:creationId xmlns:a16="http://schemas.microsoft.com/office/drawing/2014/main" id="{9323BFB0-E38A-4442-AB4F-657D3588F166}"/>
                </a:ext>
              </a:extLst>
            </p:cNvPr>
            <p:cNvCxnSpPr>
              <a:cxnSpLocks/>
              <a:stCxn id="115" idx="4"/>
              <a:endCxn id="190" idx="1"/>
            </p:cNvCxnSpPr>
            <p:nvPr/>
          </p:nvCxnSpPr>
          <p:spPr>
            <a:xfrm rot="16200000" flipH="1">
              <a:off x="4192920" y="7321429"/>
              <a:ext cx="2033588" cy="5606709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Verbinder: gewinkelt 232">
              <a:extLst>
                <a:ext uri="{FF2B5EF4-FFF2-40B4-BE49-F238E27FC236}">
                  <a16:creationId xmlns:a16="http://schemas.microsoft.com/office/drawing/2014/main" id="{FD0D5869-D59E-4E05-87B4-6C2BA1BA29B4}"/>
                </a:ext>
              </a:extLst>
            </p:cNvPr>
            <p:cNvCxnSpPr>
              <a:cxnSpLocks/>
              <a:stCxn id="110" idx="4"/>
              <a:endCxn id="190" idx="1"/>
            </p:cNvCxnSpPr>
            <p:nvPr/>
          </p:nvCxnSpPr>
          <p:spPr>
            <a:xfrm rot="16200000" flipH="1">
              <a:off x="4863513" y="7992022"/>
              <a:ext cx="1160402" cy="5138709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Verbinder: gewinkelt 235">
              <a:extLst>
                <a:ext uri="{FF2B5EF4-FFF2-40B4-BE49-F238E27FC236}">
                  <a16:creationId xmlns:a16="http://schemas.microsoft.com/office/drawing/2014/main" id="{A76421EC-E03E-433B-BB66-9C05BDC89EB9}"/>
                </a:ext>
              </a:extLst>
            </p:cNvPr>
            <p:cNvCxnSpPr>
              <a:cxnSpLocks/>
              <a:stCxn id="37" idx="4"/>
              <a:endCxn id="190" idx="1"/>
            </p:cNvCxnSpPr>
            <p:nvPr/>
          </p:nvCxnSpPr>
          <p:spPr>
            <a:xfrm rot="16200000" flipH="1">
              <a:off x="5512723" y="8641231"/>
              <a:ext cx="294031" cy="4706661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Verbinder: gewinkelt 239">
              <a:extLst>
                <a:ext uri="{FF2B5EF4-FFF2-40B4-BE49-F238E27FC236}">
                  <a16:creationId xmlns:a16="http://schemas.microsoft.com/office/drawing/2014/main" id="{B27C1D4C-3793-4063-B8AD-E54D125F3714}"/>
                </a:ext>
              </a:extLst>
            </p:cNvPr>
            <p:cNvCxnSpPr>
              <a:cxnSpLocks/>
              <a:stCxn id="113" idx="4"/>
              <a:endCxn id="190" idx="1"/>
            </p:cNvCxnSpPr>
            <p:nvPr/>
          </p:nvCxnSpPr>
          <p:spPr>
            <a:xfrm rot="16200000" flipH="1">
              <a:off x="5615052" y="8743561"/>
              <a:ext cx="2033588" cy="2762445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Verbinder: gewinkelt 242">
              <a:extLst>
                <a:ext uri="{FF2B5EF4-FFF2-40B4-BE49-F238E27FC236}">
                  <a16:creationId xmlns:a16="http://schemas.microsoft.com/office/drawing/2014/main" id="{C04C65AE-929A-4A78-B655-27B7AD4F4C1D}"/>
                </a:ext>
              </a:extLst>
            </p:cNvPr>
            <p:cNvCxnSpPr>
              <a:cxnSpLocks/>
              <a:stCxn id="121" idx="4"/>
              <a:endCxn id="190" idx="1"/>
            </p:cNvCxnSpPr>
            <p:nvPr/>
          </p:nvCxnSpPr>
          <p:spPr>
            <a:xfrm rot="16200000" flipH="1">
              <a:off x="6249693" y="9378202"/>
              <a:ext cx="1160402" cy="2366349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Verbinder: gewinkelt 245">
              <a:extLst>
                <a:ext uri="{FF2B5EF4-FFF2-40B4-BE49-F238E27FC236}">
                  <a16:creationId xmlns:a16="http://schemas.microsoft.com/office/drawing/2014/main" id="{0D728175-7D5F-496C-90E5-87A65E8420B9}"/>
                </a:ext>
              </a:extLst>
            </p:cNvPr>
            <p:cNvCxnSpPr>
              <a:cxnSpLocks/>
              <a:stCxn id="132" idx="4"/>
              <a:endCxn id="190" idx="1"/>
            </p:cNvCxnSpPr>
            <p:nvPr/>
          </p:nvCxnSpPr>
          <p:spPr>
            <a:xfrm rot="16200000" flipH="1">
              <a:off x="6785208" y="9913717"/>
              <a:ext cx="2033588" cy="422133"/>
            </a:xfrm>
            <a:prstGeom prst="bentConnector2">
              <a:avLst/>
            </a:prstGeom>
            <a:ln w="12700">
              <a:solidFill>
                <a:schemeClr val="bg2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9" name="Text Box 25">
              <a:extLst>
                <a:ext uri="{FF2B5EF4-FFF2-40B4-BE49-F238E27FC236}">
                  <a16:creationId xmlns:a16="http://schemas.microsoft.com/office/drawing/2014/main" id="{84676917-B9C7-4159-8F7F-6E0DCCC8CC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04207" y="8946573"/>
              <a:ext cx="1205202" cy="3951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53452" tIns="65184" rIns="53452" bIns="65184">
              <a:spAutoFit/>
            </a:bodyPr>
            <a:lstStyle/>
            <a:p>
              <a:pPr algn="ctr" defTabSz="1420538"/>
              <a:r>
                <a:rPr lang="en-US" sz="1002" b="1">
                  <a:solidFill>
                    <a:schemeClr val="lt2"/>
                  </a:solidFill>
                </a:rPr>
                <a:t>Vehicle</a:t>
              </a:r>
              <a:br>
                <a:rPr lang="en-US" sz="1002" b="1">
                  <a:solidFill>
                    <a:schemeClr val="lt2"/>
                  </a:solidFill>
                </a:rPr>
              </a:br>
              <a:r>
                <a:rPr lang="en-US" sz="1002" b="1">
                  <a:solidFill>
                    <a:schemeClr val="lt2"/>
                  </a:solidFill>
                </a:rPr>
                <a:t>Localization</a:t>
              </a:r>
            </a:p>
          </p:txBody>
        </p:sp>
      </p:grpSp>
      <p:pic>
        <p:nvPicPr>
          <p:cNvPr id="258" name="Grafik 257">
            <a:extLst>
              <a:ext uri="{FF2B5EF4-FFF2-40B4-BE49-F238E27FC236}">
                <a16:creationId xmlns:a16="http://schemas.microsoft.com/office/drawing/2014/main" id="{94D97646-88EF-4F2B-A992-2D164EE5D9C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308156" y="599882"/>
            <a:ext cx="3956395" cy="2068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93753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IAAAAAAAAAAwAAAAMAAAAA/////wQA9ws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xhazyDAcxFpBcVQEndQWQFAAAAAAADAAAAAAADAAAAAwADAAAAAAADAAAAAwADAAAAAAADAAAAAwADAAAAAAADAAAAAwADAAAAAAD///////8DAAQA////////BAAAAAMAEAALm82wl5yvPkWN8+FcdJK9pQUAAAABAAMAAAACAAMAAAABAAMAAAACAP///////wMAAAACAP///////w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xhazyDAcxFpBcVQEndQWQDRGF0YQAbAAAABExpbmtlZFNoYXBlRGF0YQAFAAAAAAACTmFtZQAZAAAATGlua2VkU2hhcGVzRGF0YVByb3BlcnR5ABBWZXJzaW9uAAAAAAAJTGFzdFdyaXRlAJx86j2EAQAAAAEA/////50AnQAAAAVfaWQAEAAAAASbzbCXnK8+RY3z4Vx0kr2lA0RhdGEAKgAAAAhQcmVzZW50YXRpb25TY2FubmVkRm9yTGlua2VkU2hhcGVzAAEAAk5hbWUAJAAAAExpbmtlZFNoYXBlUHJlc2VudGF0aW9uU2V0dGluZ3NEYXRhABBWZXJzaW9uAAAAAAAJTGFzdFdyaXRlALN86j2E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70802ccc-b5a7-452c-afd2-4f009ae16ddb"/>
  <p:tag name="MIO_UPDATE" val="True"/>
  <p:tag name="MIO_VERSION" val="11.05.2020 14:41:12"/>
  <p:tag name="MIO_DBID" val="28AD0E67-88F4-4826-B6CB-8EA6DE4EF11B"/>
  <p:tag name="MIO_LASTDOWNLOADED" val="03.11.2022 15:34:48.098"/>
  <p:tag name="MIO_OBJECTNAME" val="Automotive 16x10"/>
  <p:tag name="MIO_CDID" val="01696391-4db7-4800-8d5d-7f43ae8171d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0, 16x10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B99237C7B2EE4D9963A97840FCBC1C" ma:contentTypeVersion="16" ma:contentTypeDescription="Create a new document." ma:contentTypeScope="" ma:versionID="c0c7fe0bd43848878d46d0d5de8cd3f5">
  <xsd:schema xmlns:xsd="http://www.w3.org/2001/XMLSchema" xmlns:xs="http://www.w3.org/2001/XMLSchema" xmlns:p="http://schemas.microsoft.com/office/2006/metadata/properties" xmlns:ns2="6181966b-66d7-4fc2-93b2-49774504d8ea" xmlns:ns3="bce3fda7-c668-4633-a7e9-e5c8c5bbaab1" targetNamespace="http://schemas.microsoft.com/office/2006/metadata/properties" ma:root="true" ma:fieldsID="8852a5322677d8214e67982d9b948b8d" ns2:_="" ns3:_="">
    <xsd:import namespace="6181966b-66d7-4fc2-93b2-49774504d8ea"/>
    <xsd:import namespace="bce3fda7-c668-4633-a7e9-e5c8c5bbaab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LengthInSecond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81966b-66d7-4fc2-93b2-49774504d8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eda2b84-7b9c-4109-bb73-211c9f848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e3fda7-c668-4633-a7e9-e5c8c5bbaab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67e6b0e-e6f9-4213-a4c1-a51081938e45}" ma:internalName="TaxCatchAll" ma:showField="CatchAllData" ma:web="bce3fda7-c668-4633-a7e9-e5c8c5bbaab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ce3fda7-c668-4633-a7e9-e5c8c5bbaab1" xsi:nil="true"/>
    <lcf76f155ced4ddcb4097134ff3c332f xmlns="6181966b-66d7-4fc2-93b2-49774504d8e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169AD73-87EF-472A-9B2A-ED883B784ACA}">
  <ds:schemaRefs>
    <ds:schemaRef ds:uri="6181966b-66d7-4fc2-93b2-49774504d8ea"/>
    <ds:schemaRef ds:uri="bce3fda7-c668-4633-a7e9-e5c8c5bbaab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6D8249E-1287-4EC0-B853-F6290DED3D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955467-1FA3-46E1-9033-AE704C04F65E}">
  <ds:schemaRefs>
    <ds:schemaRef ds:uri="6181966b-66d7-4fc2-93b2-49774504d8ea"/>
    <ds:schemaRef ds:uri="bce3fda7-c668-4633-a7e9-e5c8c5bbaab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8d4b558f-7b2e-40ba-ad1f-e04d79e6265a}" enabled="0" method="" siteId="{8d4b558f-7b2e-40ba-ad1f-e04d79e6265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</Words>
  <Application>Microsoft Office PowerPoint</Application>
  <PresentationFormat>Benutzerdefiniert</PresentationFormat>
  <Paragraphs>27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Arial</vt:lpstr>
      <vt:lpstr>Continental AG 2020, 16x10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Reimold, Florian</cp:lastModifiedBy>
  <cp:revision>2</cp:revision>
  <dcterms:created xsi:type="dcterms:W3CDTF">2019-04-24T08:42:37Z</dcterms:created>
  <dcterms:modified xsi:type="dcterms:W3CDTF">2022-11-04T11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B99237C7B2EE4D9963A97840FCBC1C</vt:lpwstr>
  </property>
  <property fmtid="{D5CDD505-2E9C-101B-9397-08002B2CF9AE}" pid="3" name="MediaServiceImageTags">
    <vt:lpwstr/>
  </property>
</Properties>
</file>